
<file path=[Content_Types].xml><?xml version="1.0" encoding="utf-8"?>
<Types xmlns="http://schemas.openxmlformats.org/package/2006/content-types">
  <Default Extension="bin" ContentType="image/jpe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87" r:id="rId1"/>
  </p:sldMasterIdLst>
  <p:notesMasterIdLst>
    <p:notesMasterId r:id="rId19"/>
  </p:notesMasterIdLst>
  <p:sldIdLst>
    <p:sldId id="256" r:id="rId2"/>
    <p:sldId id="257" r:id="rId3"/>
    <p:sldId id="261" r:id="rId4"/>
    <p:sldId id="262" r:id="rId5"/>
    <p:sldId id="263" r:id="rId6"/>
    <p:sldId id="265" r:id="rId7"/>
    <p:sldId id="264" r:id="rId8"/>
    <p:sldId id="271" r:id="rId9"/>
    <p:sldId id="267" r:id="rId10"/>
    <p:sldId id="272" r:id="rId11"/>
    <p:sldId id="274" r:id="rId12"/>
    <p:sldId id="269" r:id="rId13"/>
    <p:sldId id="260" r:id="rId14"/>
    <p:sldId id="270" r:id="rId15"/>
    <p:sldId id="273" r:id="rId16"/>
    <p:sldId id="275" r:id="rId17"/>
    <p:sldId id="276" r:id="rId18"/>
  </p:sldIdLst>
  <p:sldSz cx="12195175" cy="6859588"/>
  <p:notesSz cx="7099300" cy="10234613"/>
  <p:custDataLst>
    <p:tags r:id="rId20"/>
  </p:custDataLst>
  <p:defaultTextStyle/>
  <p:extLst>
    <p:ext uri="{EFAFB233-063F-42B5-8137-9DF3F51BA10A}">
      <p15:sldGuideLst xmlns:p15="http://schemas.microsoft.com/office/powerpoint/2012/main">
        <p15:guide id="4" orient="horz" pos="344">
          <p15:clr>
            <a:srgbClr val="A4A3A4"/>
          </p15:clr>
        </p15:guide>
        <p15:guide id="5" orient="horz" pos="840">
          <p15:clr>
            <a:srgbClr val="A4A3A4"/>
          </p15:clr>
        </p15:guide>
        <p15:guide id="6" orient="horz" pos="977">
          <p15:clr>
            <a:srgbClr val="A4A3A4"/>
          </p15:clr>
        </p15:guide>
        <p15:guide id="7" orient="horz" pos="4039">
          <p15:clr>
            <a:srgbClr val="A4A3A4"/>
          </p15:clr>
        </p15:guide>
        <p15:guide id="12" pos="605">
          <p15:clr>
            <a:srgbClr val="A4A3A4"/>
          </p15:clr>
        </p15:guide>
        <p15:guide id="16" pos="74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D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27" autoAdjust="0"/>
    <p:restoredTop sz="94689"/>
  </p:normalViewPr>
  <p:slideViewPr>
    <p:cSldViewPr>
      <p:cViewPr varScale="1">
        <p:scale>
          <a:sx n="115" d="100"/>
          <a:sy n="115" d="100"/>
        </p:scale>
        <p:origin x="210" y="108"/>
      </p:cViewPr>
      <p:guideLst>
        <p:guide orient="horz" pos="344"/>
        <p:guide orient="horz" pos="840"/>
        <p:guide orient="horz" pos="977"/>
        <p:guide orient="horz" pos="4039"/>
        <p:guide pos="605"/>
        <p:guide pos="74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75" d="100"/>
          <a:sy n="75" d="100"/>
        </p:scale>
        <p:origin x="3828" y="1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ejhjb1w\Desktop\Erw&#228;rmen_tes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 smtClean="0">
                <a:solidFill>
                  <a:schemeClr val="tx1"/>
                </a:solidFill>
              </a:rPr>
              <a:t>Heizen eines Stack 2.0 mit 40W</a:t>
            </a:r>
            <a:endParaRPr lang="de-DE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27127534688221178"/>
          <c:y val="8.22236435398897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5541085304381771"/>
          <c:y val="7.8112461362895222E-2"/>
          <c:w val="0.83879571492578386"/>
          <c:h val="0.90468650915483428"/>
        </c:manualLayout>
      </c:layout>
      <c:lineChart>
        <c:grouping val="standard"/>
        <c:varyColors val="0"/>
        <c:ser>
          <c:idx val="0"/>
          <c:order val="0"/>
          <c:tx>
            <c:strRef>
              <c:f>Temperaturmessung!$D$1</c:f>
              <c:strCache>
                <c:ptCount val="1"/>
                <c:pt idx="0">
                  <c:v>Stackeinfassung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emperaturmessung!$I:$I</c:f>
              <c:numCache>
                <c:formatCode>General</c:formatCode>
                <c:ptCount val="1048575"/>
                <c:pt idx="0">
                  <c:v>99</c:v>
                </c:pt>
                <c:pt idx="1">
                  <c:v>199</c:v>
                </c:pt>
                <c:pt idx="2">
                  <c:v>299</c:v>
                </c:pt>
                <c:pt idx="3">
                  <c:v>399</c:v>
                </c:pt>
                <c:pt idx="4">
                  <c:v>499</c:v>
                </c:pt>
                <c:pt idx="5">
                  <c:v>599</c:v>
                </c:pt>
                <c:pt idx="6">
                  <c:v>699</c:v>
                </c:pt>
                <c:pt idx="7">
                  <c:v>799</c:v>
                </c:pt>
                <c:pt idx="8">
                  <c:v>899</c:v>
                </c:pt>
                <c:pt idx="9">
                  <c:v>999</c:v>
                </c:pt>
                <c:pt idx="10">
                  <c:v>1099</c:v>
                </c:pt>
                <c:pt idx="11">
                  <c:v>1199</c:v>
                </c:pt>
                <c:pt idx="12">
                  <c:v>1299</c:v>
                </c:pt>
                <c:pt idx="13">
                  <c:v>1399</c:v>
                </c:pt>
                <c:pt idx="14">
                  <c:v>1499</c:v>
                </c:pt>
                <c:pt idx="15">
                  <c:v>1599</c:v>
                </c:pt>
                <c:pt idx="16">
                  <c:v>1699</c:v>
                </c:pt>
                <c:pt idx="17">
                  <c:v>1799</c:v>
                </c:pt>
                <c:pt idx="18">
                  <c:v>1899</c:v>
                </c:pt>
                <c:pt idx="19">
                  <c:v>1999</c:v>
                </c:pt>
                <c:pt idx="20">
                  <c:v>2099</c:v>
                </c:pt>
                <c:pt idx="21">
                  <c:v>2199</c:v>
                </c:pt>
                <c:pt idx="22">
                  <c:v>2299</c:v>
                </c:pt>
                <c:pt idx="23">
                  <c:v>2399</c:v>
                </c:pt>
                <c:pt idx="24">
                  <c:v>2499</c:v>
                </c:pt>
                <c:pt idx="25">
                  <c:v>2599</c:v>
                </c:pt>
                <c:pt idx="26">
                  <c:v>2699</c:v>
                </c:pt>
                <c:pt idx="27">
                  <c:v>2799</c:v>
                </c:pt>
                <c:pt idx="28">
                  <c:v>2899</c:v>
                </c:pt>
                <c:pt idx="29">
                  <c:v>2999</c:v>
                </c:pt>
                <c:pt idx="30">
                  <c:v>3099</c:v>
                </c:pt>
                <c:pt idx="31">
                  <c:v>3199</c:v>
                </c:pt>
                <c:pt idx="32">
                  <c:v>3299</c:v>
                </c:pt>
                <c:pt idx="33">
                  <c:v>3399</c:v>
                </c:pt>
                <c:pt idx="34">
                  <c:v>3499</c:v>
                </c:pt>
                <c:pt idx="35">
                  <c:v>3599</c:v>
                </c:pt>
                <c:pt idx="36">
                  <c:v>3699</c:v>
                </c:pt>
                <c:pt idx="37">
                  <c:v>3799</c:v>
                </c:pt>
                <c:pt idx="38">
                  <c:v>3899</c:v>
                </c:pt>
                <c:pt idx="39">
                  <c:v>3999</c:v>
                </c:pt>
                <c:pt idx="40">
                  <c:v>4099</c:v>
                </c:pt>
                <c:pt idx="41">
                  <c:v>4199</c:v>
                </c:pt>
                <c:pt idx="42">
                  <c:v>4299</c:v>
                </c:pt>
                <c:pt idx="43">
                  <c:v>4399</c:v>
                </c:pt>
                <c:pt idx="44">
                  <c:v>4499</c:v>
                </c:pt>
                <c:pt idx="45">
                  <c:v>4599</c:v>
                </c:pt>
                <c:pt idx="46">
                  <c:v>4699</c:v>
                </c:pt>
                <c:pt idx="47">
                  <c:v>4799</c:v>
                </c:pt>
                <c:pt idx="48">
                  <c:v>4899</c:v>
                </c:pt>
                <c:pt idx="49">
                  <c:v>4918</c:v>
                </c:pt>
                <c:pt idx="50">
                  <c:v>5018</c:v>
                </c:pt>
                <c:pt idx="51">
                  <c:v>5118</c:v>
                </c:pt>
                <c:pt idx="52">
                  <c:v>5218</c:v>
                </c:pt>
                <c:pt idx="53">
                  <c:v>5318</c:v>
                </c:pt>
                <c:pt idx="54">
                  <c:v>5418</c:v>
                </c:pt>
                <c:pt idx="55">
                  <c:v>5518</c:v>
                </c:pt>
                <c:pt idx="56">
                  <c:v>5618</c:v>
                </c:pt>
                <c:pt idx="57">
                  <c:v>5718</c:v>
                </c:pt>
                <c:pt idx="58">
                  <c:v>5818</c:v>
                </c:pt>
                <c:pt idx="59">
                  <c:v>5918</c:v>
                </c:pt>
                <c:pt idx="60">
                  <c:v>6018</c:v>
                </c:pt>
                <c:pt idx="61">
                  <c:v>6118</c:v>
                </c:pt>
                <c:pt idx="62">
                  <c:v>6218</c:v>
                </c:pt>
                <c:pt idx="63">
                  <c:v>6318</c:v>
                </c:pt>
                <c:pt idx="64">
                  <c:v>6418</c:v>
                </c:pt>
                <c:pt idx="65">
                  <c:v>6518</c:v>
                </c:pt>
                <c:pt idx="66">
                  <c:v>6618</c:v>
                </c:pt>
                <c:pt idx="67">
                  <c:v>6718</c:v>
                </c:pt>
                <c:pt idx="68">
                  <c:v>6818</c:v>
                </c:pt>
                <c:pt idx="69">
                  <c:v>6918</c:v>
                </c:pt>
                <c:pt idx="70">
                  <c:v>7018</c:v>
                </c:pt>
                <c:pt idx="71">
                  <c:v>7118</c:v>
                </c:pt>
                <c:pt idx="72">
                  <c:v>7218</c:v>
                </c:pt>
                <c:pt idx="73">
                  <c:v>7318</c:v>
                </c:pt>
                <c:pt idx="74">
                  <c:v>7418</c:v>
                </c:pt>
                <c:pt idx="75">
                  <c:v>7518</c:v>
                </c:pt>
                <c:pt idx="76">
                  <c:v>7618</c:v>
                </c:pt>
                <c:pt idx="77">
                  <c:v>7718</c:v>
                </c:pt>
                <c:pt idx="78">
                  <c:v>7818</c:v>
                </c:pt>
                <c:pt idx="79">
                  <c:v>7918</c:v>
                </c:pt>
                <c:pt idx="80">
                  <c:v>8018</c:v>
                </c:pt>
                <c:pt idx="81">
                  <c:v>8118</c:v>
                </c:pt>
                <c:pt idx="82">
                  <c:v>8218</c:v>
                </c:pt>
                <c:pt idx="83">
                  <c:v>8318</c:v>
                </c:pt>
                <c:pt idx="84">
                  <c:v>8418</c:v>
                </c:pt>
                <c:pt idx="85">
                  <c:v>8518</c:v>
                </c:pt>
                <c:pt idx="86">
                  <c:v>8618</c:v>
                </c:pt>
                <c:pt idx="87">
                  <c:v>8718</c:v>
                </c:pt>
                <c:pt idx="88">
                  <c:v>8818</c:v>
                </c:pt>
                <c:pt idx="89">
                  <c:v>8918</c:v>
                </c:pt>
                <c:pt idx="90">
                  <c:v>9018</c:v>
                </c:pt>
                <c:pt idx="91">
                  <c:v>9118</c:v>
                </c:pt>
                <c:pt idx="92">
                  <c:v>9218</c:v>
                </c:pt>
                <c:pt idx="93">
                  <c:v>9318</c:v>
                </c:pt>
                <c:pt idx="94">
                  <c:v>9418</c:v>
                </c:pt>
                <c:pt idx="95">
                  <c:v>9518</c:v>
                </c:pt>
                <c:pt idx="96">
                  <c:v>9618</c:v>
                </c:pt>
                <c:pt idx="97">
                  <c:v>9718</c:v>
                </c:pt>
                <c:pt idx="98">
                  <c:v>9818</c:v>
                </c:pt>
                <c:pt idx="99">
                  <c:v>9837</c:v>
                </c:pt>
                <c:pt idx="100">
                  <c:v>9937</c:v>
                </c:pt>
                <c:pt idx="101">
                  <c:v>10037</c:v>
                </c:pt>
                <c:pt idx="102">
                  <c:v>10137</c:v>
                </c:pt>
                <c:pt idx="103">
                  <c:v>10237</c:v>
                </c:pt>
                <c:pt idx="104">
                  <c:v>10337</c:v>
                </c:pt>
                <c:pt idx="105">
                  <c:v>10437</c:v>
                </c:pt>
                <c:pt idx="106">
                  <c:v>10537</c:v>
                </c:pt>
                <c:pt idx="107">
                  <c:v>10637</c:v>
                </c:pt>
                <c:pt idx="108">
                  <c:v>10737</c:v>
                </c:pt>
                <c:pt idx="109">
                  <c:v>10837</c:v>
                </c:pt>
                <c:pt idx="110">
                  <c:v>10937</c:v>
                </c:pt>
                <c:pt idx="111">
                  <c:v>11037</c:v>
                </c:pt>
                <c:pt idx="112">
                  <c:v>11137</c:v>
                </c:pt>
                <c:pt idx="113">
                  <c:v>11237</c:v>
                </c:pt>
                <c:pt idx="114">
                  <c:v>11337</c:v>
                </c:pt>
                <c:pt idx="115">
                  <c:v>11437</c:v>
                </c:pt>
                <c:pt idx="116">
                  <c:v>11537</c:v>
                </c:pt>
                <c:pt idx="117">
                  <c:v>11637</c:v>
                </c:pt>
                <c:pt idx="118">
                  <c:v>11737</c:v>
                </c:pt>
                <c:pt idx="119">
                  <c:v>11837</c:v>
                </c:pt>
                <c:pt idx="120">
                  <c:v>11937</c:v>
                </c:pt>
                <c:pt idx="121">
                  <c:v>12037</c:v>
                </c:pt>
                <c:pt idx="122">
                  <c:v>12137</c:v>
                </c:pt>
                <c:pt idx="123">
                  <c:v>12237</c:v>
                </c:pt>
                <c:pt idx="124">
                  <c:v>12337</c:v>
                </c:pt>
                <c:pt idx="125">
                  <c:v>12437</c:v>
                </c:pt>
                <c:pt idx="126">
                  <c:v>12537</c:v>
                </c:pt>
                <c:pt idx="127">
                  <c:v>12637</c:v>
                </c:pt>
                <c:pt idx="128">
                  <c:v>12737</c:v>
                </c:pt>
                <c:pt idx="129">
                  <c:v>12837</c:v>
                </c:pt>
                <c:pt idx="130">
                  <c:v>12937</c:v>
                </c:pt>
                <c:pt idx="131">
                  <c:v>13037</c:v>
                </c:pt>
                <c:pt idx="132">
                  <c:v>13137</c:v>
                </c:pt>
                <c:pt idx="133">
                  <c:v>13237</c:v>
                </c:pt>
                <c:pt idx="134">
                  <c:v>13337</c:v>
                </c:pt>
                <c:pt idx="135">
                  <c:v>13437</c:v>
                </c:pt>
                <c:pt idx="136">
                  <c:v>13537</c:v>
                </c:pt>
                <c:pt idx="137">
                  <c:v>13637</c:v>
                </c:pt>
                <c:pt idx="138">
                  <c:v>13737</c:v>
                </c:pt>
                <c:pt idx="139">
                  <c:v>13837</c:v>
                </c:pt>
                <c:pt idx="140">
                  <c:v>13937</c:v>
                </c:pt>
                <c:pt idx="141">
                  <c:v>14037</c:v>
                </c:pt>
                <c:pt idx="142">
                  <c:v>14137</c:v>
                </c:pt>
                <c:pt idx="143">
                  <c:v>14237</c:v>
                </c:pt>
                <c:pt idx="144">
                  <c:v>14337</c:v>
                </c:pt>
                <c:pt idx="145">
                  <c:v>14437</c:v>
                </c:pt>
                <c:pt idx="146">
                  <c:v>14537</c:v>
                </c:pt>
                <c:pt idx="147">
                  <c:v>14637</c:v>
                </c:pt>
                <c:pt idx="148">
                  <c:v>14737</c:v>
                </c:pt>
                <c:pt idx="149">
                  <c:v>14756</c:v>
                </c:pt>
                <c:pt idx="150">
                  <c:v>14856</c:v>
                </c:pt>
                <c:pt idx="151">
                  <c:v>14956</c:v>
                </c:pt>
                <c:pt idx="152">
                  <c:v>15056</c:v>
                </c:pt>
                <c:pt idx="153">
                  <c:v>15156</c:v>
                </c:pt>
                <c:pt idx="154">
                  <c:v>15256</c:v>
                </c:pt>
                <c:pt idx="155">
                  <c:v>15356</c:v>
                </c:pt>
                <c:pt idx="156">
                  <c:v>15456</c:v>
                </c:pt>
                <c:pt idx="157">
                  <c:v>15556</c:v>
                </c:pt>
                <c:pt idx="158">
                  <c:v>15656</c:v>
                </c:pt>
                <c:pt idx="159">
                  <c:v>15756</c:v>
                </c:pt>
                <c:pt idx="160">
                  <c:v>15856</c:v>
                </c:pt>
                <c:pt idx="161">
                  <c:v>15956</c:v>
                </c:pt>
                <c:pt idx="162">
                  <c:v>16056</c:v>
                </c:pt>
                <c:pt idx="163">
                  <c:v>16156</c:v>
                </c:pt>
                <c:pt idx="164">
                  <c:v>16256</c:v>
                </c:pt>
                <c:pt idx="165">
                  <c:v>16356</c:v>
                </c:pt>
                <c:pt idx="166">
                  <c:v>16456</c:v>
                </c:pt>
              </c:numCache>
            </c:numRef>
          </c:cat>
          <c:val>
            <c:numRef>
              <c:f>Temperaturmessung!$D$2:$D$198</c:f>
              <c:numCache>
                <c:formatCode>General</c:formatCode>
                <c:ptCount val="196"/>
                <c:pt idx="0">
                  <c:v>-18.923941059775682</c:v>
                </c:pt>
                <c:pt idx="1">
                  <c:v>-18.900486836735116</c:v>
                </c:pt>
                <c:pt idx="2">
                  <c:v>-18.894011580790604</c:v>
                </c:pt>
                <c:pt idx="3">
                  <c:v>-18.88256372291773</c:v>
                </c:pt>
                <c:pt idx="4">
                  <c:v>-18.90003701783192</c:v>
                </c:pt>
                <c:pt idx="5">
                  <c:v>-18.905853778097558</c:v>
                </c:pt>
                <c:pt idx="6">
                  <c:v>-18.928404257436849</c:v>
                </c:pt>
                <c:pt idx="7">
                  <c:v>-18.805375306506978</c:v>
                </c:pt>
                <c:pt idx="8">
                  <c:v>-18.736027957096251</c:v>
                </c:pt>
                <c:pt idx="9">
                  <c:v>-18.667177786060069</c:v>
                </c:pt>
                <c:pt idx="10">
                  <c:v>-18.595269478053993</c:v>
                </c:pt>
                <c:pt idx="11">
                  <c:v>-18.571354577544945</c:v>
                </c:pt>
                <c:pt idx="12">
                  <c:v>-18.486632959265599</c:v>
                </c:pt>
                <c:pt idx="13">
                  <c:v>-18.444369054720212</c:v>
                </c:pt>
                <c:pt idx="14">
                  <c:v>-18.440404685125564</c:v>
                </c:pt>
                <c:pt idx="15">
                  <c:v>-18.39552878226311</c:v>
                </c:pt>
                <c:pt idx="16">
                  <c:v>-18.310723440647045</c:v>
                </c:pt>
                <c:pt idx="17">
                  <c:v>-18.253592824702782</c:v>
                </c:pt>
                <c:pt idx="18">
                  <c:v>-18.237354717583251</c:v>
                </c:pt>
                <c:pt idx="19">
                  <c:v>-18.229941519737913</c:v>
                </c:pt>
                <c:pt idx="20">
                  <c:v>-18.17909792300426</c:v>
                </c:pt>
                <c:pt idx="21">
                  <c:v>-18.122436547531944</c:v>
                </c:pt>
                <c:pt idx="22">
                  <c:v>-18.09535606546201</c:v>
                </c:pt>
                <c:pt idx="23">
                  <c:v>-18.08964092566481</c:v>
                </c:pt>
                <c:pt idx="24">
                  <c:v>-18.059700384421692</c:v>
                </c:pt>
                <c:pt idx="25">
                  <c:v>-18.019462302274512</c:v>
                </c:pt>
                <c:pt idx="26">
                  <c:v>-17.992769825807059</c:v>
                </c:pt>
                <c:pt idx="27">
                  <c:v>-17.980981647403201</c:v>
                </c:pt>
                <c:pt idx="28">
                  <c:v>-17.926461923113941</c:v>
                </c:pt>
                <c:pt idx="29">
                  <c:v>-17.919988737171085</c:v>
                </c:pt>
                <c:pt idx="30">
                  <c:v>-17.857220135634261</c:v>
                </c:pt>
                <c:pt idx="31">
                  <c:v>-17.823539935089535</c:v>
                </c:pt>
                <c:pt idx="32">
                  <c:v>-17.797718763835924</c:v>
                </c:pt>
                <c:pt idx="33">
                  <c:v>-17.781357812132256</c:v>
                </c:pt>
                <c:pt idx="34">
                  <c:v>-17.734148885367201</c:v>
                </c:pt>
                <c:pt idx="35">
                  <c:v>-17.707730390579087</c:v>
                </c:pt>
                <c:pt idx="36">
                  <c:v>-17.684342300798509</c:v>
                </c:pt>
                <c:pt idx="37">
                  <c:v>-17.655350232530015</c:v>
                </c:pt>
                <c:pt idx="38">
                  <c:v>-17.652311350264764</c:v>
                </c:pt>
                <c:pt idx="39">
                  <c:v>-17.606626841097789</c:v>
                </c:pt>
                <c:pt idx="40">
                  <c:v>-17.597417513341373</c:v>
                </c:pt>
                <c:pt idx="41">
                  <c:v>-17.565903583569003</c:v>
                </c:pt>
                <c:pt idx="42">
                  <c:v>-17.56679895274069</c:v>
                </c:pt>
                <c:pt idx="43">
                  <c:v>-17.53508856244628</c:v>
                </c:pt>
                <c:pt idx="44">
                  <c:v>-17.502744690773405</c:v>
                </c:pt>
                <c:pt idx="45">
                  <c:v>-17.45592628178272</c:v>
                </c:pt>
                <c:pt idx="46">
                  <c:v>-17.422433389328873</c:v>
                </c:pt>
                <c:pt idx="47">
                  <c:v>-17.435827594818239</c:v>
                </c:pt>
                <c:pt idx="48">
                  <c:v>-17.440664250378628</c:v>
                </c:pt>
                <c:pt idx="49">
                  <c:v>-17.434432021811645</c:v>
                </c:pt>
                <c:pt idx="50">
                  <c:v>-17.3810166173675</c:v>
                </c:pt>
                <c:pt idx="51">
                  <c:v>-17.374999496428362</c:v>
                </c:pt>
                <c:pt idx="52">
                  <c:v>-17.322188598434781</c:v>
                </c:pt>
                <c:pt idx="53">
                  <c:v>-17.308896907364304</c:v>
                </c:pt>
                <c:pt idx="54">
                  <c:v>-17.279840467134246</c:v>
                </c:pt>
                <c:pt idx="55">
                  <c:v>-17.258007719851847</c:v>
                </c:pt>
                <c:pt idx="56">
                  <c:v>-17.219907379200848</c:v>
                </c:pt>
                <c:pt idx="57">
                  <c:v>-17.206416173574691</c:v>
                </c:pt>
                <c:pt idx="58">
                  <c:v>-17.159843881019178</c:v>
                </c:pt>
                <c:pt idx="59">
                  <c:v>-17.150278054032345</c:v>
                </c:pt>
                <c:pt idx="60">
                  <c:v>-17.137661537657888</c:v>
                </c:pt>
                <c:pt idx="61">
                  <c:v>-17.13224781709603</c:v>
                </c:pt>
                <c:pt idx="62">
                  <c:v>-17.088029033924855</c:v>
                </c:pt>
                <c:pt idx="63">
                  <c:v>-17.089895365049603</c:v>
                </c:pt>
                <c:pt idx="64">
                  <c:v>-17.056017396038399</c:v>
                </c:pt>
                <c:pt idx="65">
                  <c:v>-17.035800033499608</c:v>
                </c:pt>
                <c:pt idx="66">
                  <c:v>-16.994082225831001</c:v>
                </c:pt>
                <c:pt idx="67">
                  <c:v>-17.026487033780736</c:v>
                </c:pt>
                <c:pt idx="68">
                  <c:v>-16.968271920760703</c:v>
                </c:pt>
                <c:pt idx="69">
                  <c:v>-16.934803865312801</c:v>
                </c:pt>
                <c:pt idx="70">
                  <c:v>-16.89655668210094</c:v>
                </c:pt>
                <c:pt idx="71">
                  <c:v>-16.891336587235827</c:v>
                </c:pt>
                <c:pt idx="72">
                  <c:v>-16.893024274840659</c:v>
                </c:pt>
                <c:pt idx="73">
                  <c:v>-16.867632563234427</c:v>
                </c:pt>
                <c:pt idx="74">
                  <c:v>-16.874506745328038</c:v>
                </c:pt>
                <c:pt idx="75">
                  <c:v>-16.824449881080451</c:v>
                </c:pt>
                <c:pt idx="76">
                  <c:v>-16.835066635868856</c:v>
                </c:pt>
                <c:pt idx="77">
                  <c:v>-16.793467827662042</c:v>
                </c:pt>
                <c:pt idx="78">
                  <c:v>-16.79052762996292</c:v>
                </c:pt>
                <c:pt idx="79">
                  <c:v>-16.749817700262511</c:v>
                </c:pt>
                <c:pt idx="80">
                  <c:v>-16.741395729444303</c:v>
                </c:pt>
                <c:pt idx="81">
                  <c:v>-16.711462460842135</c:v>
                </c:pt>
                <c:pt idx="82">
                  <c:v>-16.698726809105761</c:v>
                </c:pt>
                <c:pt idx="83">
                  <c:v>-16.662485897310486</c:v>
                </c:pt>
                <c:pt idx="84">
                  <c:v>-16.630409624638016</c:v>
                </c:pt>
                <c:pt idx="85">
                  <c:v>-16.619966877451922</c:v>
                </c:pt>
                <c:pt idx="86">
                  <c:v>-16.629209548734114</c:v>
                </c:pt>
                <c:pt idx="87">
                  <c:v>-16.589739609460779</c:v>
                </c:pt>
                <c:pt idx="88">
                  <c:v>-16.577190248757194</c:v>
                </c:pt>
                <c:pt idx="89">
                  <c:v>-16.5685453301144</c:v>
                </c:pt>
                <c:pt idx="90">
                  <c:v>-16.550500496921348</c:v>
                </c:pt>
                <c:pt idx="91">
                  <c:v>-16.524404718192283</c:v>
                </c:pt>
                <c:pt idx="92">
                  <c:v>-16.488983463308152</c:v>
                </c:pt>
                <c:pt idx="93">
                  <c:v>-16.466773065570163</c:v>
                </c:pt>
                <c:pt idx="94">
                  <c:v>-16.463207762971859</c:v>
                </c:pt>
                <c:pt idx="95">
                  <c:v>-16.454559428446977</c:v>
                </c:pt>
                <c:pt idx="96">
                  <c:v>-16.426844826608836</c:v>
                </c:pt>
                <c:pt idx="97">
                  <c:v>-16.399250960549914</c:v>
                </c:pt>
                <c:pt idx="98">
                  <c:v>-16.421404965853871</c:v>
                </c:pt>
                <c:pt idx="99">
                  <c:v>-16.41035803882723</c:v>
                </c:pt>
                <c:pt idx="100">
                  <c:v>-16.400731160403399</c:v>
                </c:pt>
                <c:pt idx="101">
                  <c:v>-16.381167411471939</c:v>
                </c:pt>
                <c:pt idx="102">
                  <c:v>-16.34057392110374</c:v>
                </c:pt>
                <c:pt idx="103">
                  <c:v>-16.321982047277579</c:v>
                </c:pt>
                <c:pt idx="104">
                  <c:v>-16.320459464103074</c:v>
                </c:pt>
                <c:pt idx="105">
                  <c:v>-16.298182488746097</c:v>
                </c:pt>
                <c:pt idx="106">
                  <c:v>-16.301213557202797</c:v>
                </c:pt>
                <c:pt idx="107">
                  <c:v>-16.288078266921069</c:v>
                </c:pt>
                <c:pt idx="108">
                  <c:v>-16.256417074554601</c:v>
                </c:pt>
                <c:pt idx="109">
                  <c:v>-16.240582377022157</c:v>
                </c:pt>
                <c:pt idx="110">
                  <c:v>-16.22527639017779</c:v>
                </c:pt>
                <c:pt idx="111">
                  <c:v>-16.190999587055011</c:v>
                </c:pt>
                <c:pt idx="112">
                  <c:v>-16.181478599848063</c:v>
                </c:pt>
                <c:pt idx="113">
                  <c:v>-16.182065039313287</c:v>
                </c:pt>
                <c:pt idx="114">
                  <c:v>-16.171753396385157</c:v>
                </c:pt>
                <c:pt idx="115">
                  <c:v>-16.153440826241283</c:v>
                </c:pt>
                <c:pt idx="116">
                  <c:v>-16.129537902383717</c:v>
                </c:pt>
                <c:pt idx="117">
                  <c:v>-16.133100038491044</c:v>
                </c:pt>
                <c:pt idx="118">
                  <c:v>-16.133649483691304</c:v>
                </c:pt>
                <c:pt idx="119">
                  <c:v>-16.105451913338371</c:v>
                </c:pt>
                <c:pt idx="120">
                  <c:v>-16.12315996249238</c:v>
                </c:pt>
                <c:pt idx="121">
                  <c:v>-16.111348224058368</c:v>
                </c:pt>
                <c:pt idx="122">
                  <c:v>-16.101555368267409</c:v>
                </c:pt>
                <c:pt idx="123">
                  <c:v>-16.122036673854545</c:v>
                </c:pt>
                <c:pt idx="124">
                  <c:v>-16.056730796734442</c:v>
                </c:pt>
                <c:pt idx="125">
                  <c:v>-16.031800122194994</c:v>
                </c:pt>
                <c:pt idx="126">
                  <c:v>-16.063883858128314</c:v>
                </c:pt>
                <c:pt idx="127">
                  <c:v>-16.017986478854482</c:v>
                </c:pt>
                <c:pt idx="128">
                  <c:v>-15.983166923322509</c:v>
                </c:pt>
                <c:pt idx="129">
                  <c:v>-15.987380794811138</c:v>
                </c:pt>
                <c:pt idx="130">
                  <c:v>-15.991612184742362</c:v>
                </c:pt>
                <c:pt idx="131">
                  <c:v>-15.991311078263253</c:v>
                </c:pt>
                <c:pt idx="132">
                  <c:v>-15.98898472607042</c:v>
                </c:pt>
                <c:pt idx="133">
                  <c:v>-15.956021583306034</c:v>
                </c:pt>
                <c:pt idx="134">
                  <c:v>-15.944835284690067</c:v>
                </c:pt>
                <c:pt idx="135">
                  <c:v>-15.897393035162322</c:v>
                </c:pt>
                <c:pt idx="136">
                  <c:v>-15.914129043972189</c:v>
                </c:pt>
                <c:pt idx="137">
                  <c:v>-15.875872184741485</c:v>
                </c:pt>
                <c:pt idx="138">
                  <c:v>-15.866816539235559</c:v>
                </c:pt>
                <c:pt idx="139">
                  <c:v>-15.856862407058202</c:v>
                </c:pt>
                <c:pt idx="140">
                  <c:v>-15.862539950205433</c:v>
                </c:pt>
                <c:pt idx="141">
                  <c:v>-15.82570563326399</c:v>
                </c:pt>
                <c:pt idx="142">
                  <c:v>-15.806129573291797</c:v>
                </c:pt>
                <c:pt idx="143">
                  <c:v>-15.791521877994223</c:v>
                </c:pt>
                <c:pt idx="144">
                  <c:v>-15.767235293260155</c:v>
                </c:pt>
                <c:pt idx="145">
                  <c:v>-15.74511026674953</c:v>
                </c:pt>
                <c:pt idx="146">
                  <c:v>-15.770503733299515</c:v>
                </c:pt>
                <c:pt idx="147">
                  <c:v>-15.744242090374669</c:v>
                </c:pt>
                <c:pt idx="148">
                  <c:v>-15.741840612059864</c:v>
                </c:pt>
                <c:pt idx="149">
                  <c:v>-15.69685884657914</c:v>
                </c:pt>
                <c:pt idx="150">
                  <c:v>-15.726909425307523</c:v>
                </c:pt>
                <c:pt idx="151">
                  <c:v>-15.753899128659837</c:v>
                </c:pt>
                <c:pt idx="152">
                  <c:v>-15.727360651132285</c:v>
                </c:pt>
                <c:pt idx="153">
                  <c:v>-15.732721220642851</c:v>
                </c:pt>
                <c:pt idx="154">
                  <c:v>-15.737048724626311</c:v>
                </c:pt>
                <c:pt idx="155">
                  <c:v>-15.714352667670143</c:v>
                </c:pt>
                <c:pt idx="156">
                  <c:v>-15.701793498921196</c:v>
                </c:pt>
                <c:pt idx="157">
                  <c:v>-15.678189027561473</c:v>
                </c:pt>
                <c:pt idx="158">
                  <c:v>-15.679951292578274</c:v>
                </c:pt>
                <c:pt idx="159">
                  <c:v>-15.645093246828644</c:v>
                </c:pt>
                <c:pt idx="160">
                  <c:v>-15.63049965641952</c:v>
                </c:pt>
                <c:pt idx="161">
                  <c:v>-15.638555935171949</c:v>
                </c:pt>
                <c:pt idx="162">
                  <c:v>-15.640252060636003</c:v>
                </c:pt>
                <c:pt idx="163">
                  <c:v>-15.598739377594057</c:v>
                </c:pt>
                <c:pt idx="164">
                  <c:v>-15.602537856860495</c:v>
                </c:pt>
                <c:pt idx="165">
                  <c:v>-15.6071960440468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D7E-4BEE-B714-EF38808B7767}"/>
            </c:ext>
          </c:extLst>
        </c:ser>
        <c:ser>
          <c:idx val="1"/>
          <c:order val="1"/>
          <c:tx>
            <c:strRef>
              <c:f>Temperaturmessung!$E$1</c:f>
              <c:strCache>
                <c:ptCount val="1"/>
                <c:pt idx="0">
                  <c:v>Pluspo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Temperaturmessung!$I:$I</c:f>
              <c:numCache>
                <c:formatCode>General</c:formatCode>
                <c:ptCount val="1048575"/>
                <c:pt idx="0">
                  <c:v>99</c:v>
                </c:pt>
                <c:pt idx="1">
                  <c:v>199</c:v>
                </c:pt>
                <c:pt idx="2">
                  <c:v>299</c:v>
                </c:pt>
                <c:pt idx="3">
                  <c:v>399</c:v>
                </c:pt>
                <c:pt idx="4">
                  <c:v>499</c:v>
                </c:pt>
                <c:pt idx="5">
                  <c:v>599</c:v>
                </c:pt>
                <c:pt idx="6">
                  <c:v>699</c:v>
                </c:pt>
                <c:pt idx="7">
                  <c:v>799</c:v>
                </c:pt>
                <c:pt idx="8">
                  <c:v>899</c:v>
                </c:pt>
                <c:pt idx="9">
                  <c:v>999</c:v>
                </c:pt>
                <c:pt idx="10">
                  <c:v>1099</c:v>
                </c:pt>
                <c:pt idx="11">
                  <c:v>1199</c:v>
                </c:pt>
                <c:pt idx="12">
                  <c:v>1299</c:v>
                </c:pt>
                <c:pt idx="13">
                  <c:v>1399</c:v>
                </c:pt>
                <c:pt idx="14">
                  <c:v>1499</c:v>
                </c:pt>
                <c:pt idx="15">
                  <c:v>1599</c:v>
                </c:pt>
                <c:pt idx="16">
                  <c:v>1699</c:v>
                </c:pt>
                <c:pt idx="17">
                  <c:v>1799</c:v>
                </c:pt>
                <c:pt idx="18">
                  <c:v>1899</c:v>
                </c:pt>
                <c:pt idx="19">
                  <c:v>1999</c:v>
                </c:pt>
                <c:pt idx="20">
                  <c:v>2099</c:v>
                </c:pt>
                <c:pt idx="21">
                  <c:v>2199</c:v>
                </c:pt>
                <c:pt idx="22">
                  <c:v>2299</c:v>
                </c:pt>
                <c:pt idx="23">
                  <c:v>2399</c:v>
                </c:pt>
                <c:pt idx="24">
                  <c:v>2499</c:v>
                </c:pt>
                <c:pt idx="25">
                  <c:v>2599</c:v>
                </c:pt>
                <c:pt idx="26">
                  <c:v>2699</c:v>
                </c:pt>
                <c:pt idx="27">
                  <c:v>2799</c:v>
                </c:pt>
                <c:pt idx="28">
                  <c:v>2899</c:v>
                </c:pt>
                <c:pt idx="29">
                  <c:v>2999</c:v>
                </c:pt>
                <c:pt idx="30">
                  <c:v>3099</c:v>
                </c:pt>
                <c:pt idx="31">
                  <c:v>3199</c:v>
                </c:pt>
                <c:pt idx="32">
                  <c:v>3299</c:v>
                </c:pt>
                <c:pt idx="33">
                  <c:v>3399</c:v>
                </c:pt>
                <c:pt idx="34">
                  <c:v>3499</c:v>
                </c:pt>
                <c:pt idx="35">
                  <c:v>3599</c:v>
                </c:pt>
                <c:pt idx="36">
                  <c:v>3699</c:v>
                </c:pt>
                <c:pt idx="37">
                  <c:v>3799</c:v>
                </c:pt>
                <c:pt idx="38">
                  <c:v>3899</c:v>
                </c:pt>
                <c:pt idx="39">
                  <c:v>3999</c:v>
                </c:pt>
                <c:pt idx="40">
                  <c:v>4099</c:v>
                </c:pt>
                <c:pt idx="41">
                  <c:v>4199</c:v>
                </c:pt>
                <c:pt idx="42">
                  <c:v>4299</c:v>
                </c:pt>
                <c:pt idx="43">
                  <c:v>4399</c:v>
                </c:pt>
                <c:pt idx="44">
                  <c:v>4499</c:v>
                </c:pt>
                <c:pt idx="45">
                  <c:v>4599</c:v>
                </c:pt>
                <c:pt idx="46">
                  <c:v>4699</c:v>
                </c:pt>
                <c:pt idx="47">
                  <c:v>4799</c:v>
                </c:pt>
                <c:pt idx="48">
                  <c:v>4899</c:v>
                </c:pt>
                <c:pt idx="49">
                  <c:v>4918</c:v>
                </c:pt>
                <c:pt idx="50">
                  <c:v>5018</c:v>
                </c:pt>
                <c:pt idx="51">
                  <c:v>5118</c:v>
                </c:pt>
                <c:pt idx="52">
                  <c:v>5218</c:v>
                </c:pt>
                <c:pt idx="53">
                  <c:v>5318</c:v>
                </c:pt>
                <c:pt idx="54">
                  <c:v>5418</c:v>
                </c:pt>
                <c:pt idx="55">
                  <c:v>5518</c:v>
                </c:pt>
                <c:pt idx="56">
                  <c:v>5618</c:v>
                </c:pt>
                <c:pt idx="57">
                  <c:v>5718</c:v>
                </c:pt>
                <c:pt idx="58">
                  <c:v>5818</c:v>
                </c:pt>
                <c:pt idx="59">
                  <c:v>5918</c:v>
                </c:pt>
                <c:pt idx="60">
                  <c:v>6018</c:v>
                </c:pt>
                <c:pt idx="61">
                  <c:v>6118</c:v>
                </c:pt>
                <c:pt idx="62">
                  <c:v>6218</c:v>
                </c:pt>
                <c:pt idx="63">
                  <c:v>6318</c:v>
                </c:pt>
                <c:pt idx="64">
                  <c:v>6418</c:v>
                </c:pt>
                <c:pt idx="65">
                  <c:v>6518</c:v>
                </c:pt>
                <c:pt idx="66">
                  <c:v>6618</c:v>
                </c:pt>
                <c:pt idx="67">
                  <c:v>6718</c:v>
                </c:pt>
                <c:pt idx="68">
                  <c:v>6818</c:v>
                </c:pt>
                <c:pt idx="69">
                  <c:v>6918</c:v>
                </c:pt>
                <c:pt idx="70">
                  <c:v>7018</c:v>
                </c:pt>
                <c:pt idx="71">
                  <c:v>7118</c:v>
                </c:pt>
                <c:pt idx="72">
                  <c:v>7218</c:v>
                </c:pt>
                <c:pt idx="73">
                  <c:v>7318</c:v>
                </c:pt>
                <c:pt idx="74">
                  <c:v>7418</c:v>
                </c:pt>
                <c:pt idx="75">
                  <c:v>7518</c:v>
                </c:pt>
                <c:pt idx="76">
                  <c:v>7618</c:v>
                </c:pt>
                <c:pt idx="77">
                  <c:v>7718</c:v>
                </c:pt>
                <c:pt idx="78">
                  <c:v>7818</c:v>
                </c:pt>
                <c:pt idx="79">
                  <c:v>7918</c:v>
                </c:pt>
                <c:pt idx="80">
                  <c:v>8018</c:v>
                </c:pt>
                <c:pt idx="81">
                  <c:v>8118</c:v>
                </c:pt>
                <c:pt idx="82">
                  <c:v>8218</c:v>
                </c:pt>
                <c:pt idx="83">
                  <c:v>8318</c:v>
                </c:pt>
                <c:pt idx="84">
                  <c:v>8418</c:v>
                </c:pt>
                <c:pt idx="85">
                  <c:v>8518</c:v>
                </c:pt>
                <c:pt idx="86">
                  <c:v>8618</c:v>
                </c:pt>
                <c:pt idx="87">
                  <c:v>8718</c:v>
                </c:pt>
                <c:pt idx="88">
                  <c:v>8818</c:v>
                </c:pt>
                <c:pt idx="89">
                  <c:v>8918</c:v>
                </c:pt>
                <c:pt idx="90">
                  <c:v>9018</c:v>
                </c:pt>
                <c:pt idx="91">
                  <c:v>9118</c:v>
                </c:pt>
                <c:pt idx="92">
                  <c:v>9218</c:v>
                </c:pt>
                <c:pt idx="93">
                  <c:v>9318</c:v>
                </c:pt>
                <c:pt idx="94">
                  <c:v>9418</c:v>
                </c:pt>
                <c:pt idx="95">
                  <c:v>9518</c:v>
                </c:pt>
                <c:pt idx="96">
                  <c:v>9618</c:v>
                </c:pt>
                <c:pt idx="97">
                  <c:v>9718</c:v>
                </c:pt>
                <c:pt idx="98">
                  <c:v>9818</c:v>
                </c:pt>
                <c:pt idx="99">
                  <c:v>9837</c:v>
                </c:pt>
                <c:pt idx="100">
                  <c:v>9937</c:v>
                </c:pt>
                <c:pt idx="101">
                  <c:v>10037</c:v>
                </c:pt>
                <c:pt idx="102">
                  <c:v>10137</c:v>
                </c:pt>
                <c:pt idx="103">
                  <c:v>10237</c:v>
                </c:pt>
                <c:pt idx="104">
                  <c:v>10337</c:v>
                </c:pt>
                <c:pt idx="105">
                  <c:v>10437</c:v>
                </c:pt>
                <c:pt idx="106">
                  <c:v>10537</c:v>
                </c:pt>
                <c:pt idx="107">
                  <c:v>10637</c:v>
                </c:pt>
                <c:pt idx="108">
                  <c:v>10737</c:v>
                </c:pt>
                <c:pt idx="109">
                  <c:v>10837</c:v>
                </c:pt>
                <c:pt idx="110">
                  <c:v>10937</c:v>
                </c:pt>
                <c:pt idx="111">
                  <c:v>11037</c:v>
                </c:pt>
                <c:pt idx="112">
                  <c:v>11137</c:v>
                </c:pt>
                <c:pt idx="113">
                  <c:v>11237</c:v>
                </c:pt>
                <c:pt idx="114">
                  <c:v>11337</c:v>
                </c:pt>
                <c:pt idx="115">
                  <c:v>11437</c:v>
                </c:pt>
                <c:pt idx="116">
                  <c:v>11537</c:v>
                </c:pt>
                <c:pt idx="117">
                  <c:v>11637</c:v>
                </c:pt>
                <c:pt idx="118">
                  <c:v>11737</c:v>
                </c:pt>
                <c:pt idx="119">
                  <c:v>11837</c:v>
                </c:pt>
                <c:pt idx="120">
                  <c:v>11937</c:v>
                </c:pt>
                <c:pt idx="121">
                  <c:v>12037</c:v>
                </c:pt>
                <c:pt idx="122">
                  <c:v>12137</c:v>
                </c:pt>
                <c:pt idx="123">
                  <c:v>12237</c:v>
                </c:pt>
                <c:pt idx="124">
                  <c:v>12337</c:v>
                </c:pt>
                <c:pt idx="125">
                  <c:v>12437</c:v>
                </c:pt>
                <c:pt idx="126">
                  <c:v>12537</c:v>
                </c:pt>
                <c:pt idx="127">
                  <c:v>12637</c:v>
                </c:pt>
                <c:pt idx="128">
                  <c:v>12737</c:v>
                </c:pt>
                <c:pt idx="129">
                  <c:v>12837</c:v>
                </c:pt>
                <c:pt idx="130">
                  <c:v>12937</c:v>
                </c:pt>
                <c:pt idx="131">
                  <c:v>13037</c:v>
                </c:pt>
                <c:pt idx="132">
                  <c:v>13137</c:v>
                </c:pt>
                <c:pt idx="133">
                  <c:v>13237</c:v>
                </c:pt>
                <c:pt idx="134">
                  <c:v>13337</c:v>
                </c:pt>
                <c:pt idx="135">
                  <c:v>13437</c:v>
                </c:pt>
                <c:pt idx="136">
                  <c:v>13537</c:v>
                </c:pt>
                <c:pt idx="137">
                  <c:v>13637</c:v>
                </c:pt>
                <c:pt idx="138">
                  <c:v>13737</c:v>
                </c:pt>
                <c:pt idx="139">
                  <c:v>13837</c:v>
                </c:pt>
                <c:pt idx="140">
                  <c:v>13937</c:v>
                </c:pt>
                <c:pt idx="141">
                  <c:v>14037</c:v>
                </c:pt>
                <c:pt idx="142">
                  <c:v>14137</c:v>
                </c:pt>
                <c:pt idx="143">
                  <c:v>14237</c:v>
                </c:pt>
                <c:pt idx="144">
                  <c:v>14337</c:v>
                </c:pt>
                <c:pt idx="145">
                  <c:v>14437</c:v>
                </c:pt>
                <c:pt idx="146">
                  <c:v>14537</c:v>
                </c:pt>
                <c:pt idx="147">
                  <c:v>14637</c:v>
                </c:pt>
                <c:pt idx="148">
                  <c:v>14737</c:v>
                </c:pt>
                <c:pt idx="149">
                  <c:v>14756</c:v>
                </c:pt>
                <c:pt idx="150">
                  <c:v>14856</c:v>
                </c:pt>
                <c:pt idx="151">
                  <c:v>14956</c:v>
                </c:pt>
                <c:pt idx="152">
                  <c:v>15056</c:v>
                </c:pt>
                <c:pt idx="153">
                  <c:v>15156</c:v>
                </c:pt>
                <c:pt idx="154">
                  <c:v>15256</c:v>
                </c:pt>
                <c:pt idx="155">
                  <c:v>15356</c:v>
                </c:pt>
                <c:pt idx="156">
                  <c:v>15456</c:v>
                </c:pt>
                <c:pt idx="157">
                  <c:v>15556</c:v>
                </c:pt>
                <c:pt idx="158">
                  <c:v>15656</c:v>
                </c:pt>
                <c:pt idx="159">
                  <c:v>15756</c:v>
                </c:pt>
                <c:pt idx="160">
                  <c:v>15856</c:v>
                </c:pt>
                <c:pt idx="161">
                  <c:v>15956</c:v>
                </c:pt>
                <c:pt idx="162">
                  <c:v>16056</c:v>
                </c:pt>
                <c:pt idx="163">
                  <c:v>16156</c:v>
                </c:pt>
                <c:pt idx="164">
                  <c:v>16256</c:v>
                </c:pt>
                <c:pt idx="165">
                  <c:v>16356</c:v>
                </c:pt>
                <c:pt idx="166">
                  <c:v>16456</c:v>
                </c:pt>
              </c:numCache>
            </c:numRef>
          </c:cat>
          <c:val>
            <c:numRef>
              <c:f>Temperaturmessung!$E$2:$E$198</c:f>
              <c:numCache>
                <c:formatCode>General</c:formatCode>
                <c:ptCount val="196"/>
                <c:pt idx="0">
                  <c:v>-18.209301388234639</c:v>
                </c:pt>
                <c:pt idx="1">
                  <c:v>-18.182472430623548</c:v>
                </c:pt>
                <c:pt idx="2">
                  <c:v>-18.18596451526205</c:v>
                </c:pt>
                <c:pt idx="3">
                  <c:v>-18.180602530382604</c:v>
                </c:pt>
                <c:pt idx="4">
                  <c:v>-18.209717569524283</c:v>
                </c:pt>
                <c:pt idx="5">
                  <c:v>-18.212126866153532</c:v>
                </c:pt>
                <c:pt idx="6">
                  <c:v>-18.247529207978321</c:v>
                </c:pt>
                <c:pt idx="7">
                  <c:v>-18.214999192581843</c:v>
                </c:pt>
                <c:pt idx="8">
                  <c:v>-18.193086050679177</c:v>
                </c:pt>
                <c:pt idx="9">
                  <c:v>-18.141783844607719</c:v>
                </c:pt>
                <c:pt idx="10">
                  <c:v>-18.085722319380213</c:v>
                </c:pt>
                <c:pt idx="11">
                  <c:v>-18.078099807091728</c:v>
                </c:pt>
                <c:pt idx="12">
                  <c:v>-17.978629171599124</c:v>
                </c:pt>
                <c:pt idx="13">
                  <c:v>-17.959225658756182</c:v>
                </c:pt>
                <c:pt idx="14">
                  <c:v>-17.933165937008638</c:v>
                </c:pt>
                <c:pt idx="15">
                  <c:v>-17.870114322245016</c:v>
                </c:pt>
                <c:pt idx="16">
                  <c:v>-17.762800031719376</c:v>
                </c:pt>
                <c:pt idx="17">
                  <c:v>-17.664451787638544</c:v>
                </c:pt>
                <c:pt idx="18">
                  <c:v>-17.61958719710292</c:v>
                </c:pt>
                <c:pt idx="19">
                  <c:v>-17.565096144510029</c:v>
                </c:pt>
                <c:pt idx="20">
                  <c:v>-17.499501552243462</c:v>
                </c:pt>
                <c:pt idx="21">
                  <c:v>-17.401164826736309</c:v>
                </c:pt>
                <c:pt idx="22">
                  <c:v>-17.341845962678057</c:v>
                </c:pt>
                <c:pt idx="23">
                  <c:v>-17.27791317007615</c:v>
                </c:pt>
                <c:pt idx="24">
                  <c:v>-17.199738496470136</c:v>
                </c:pt>
                <c:pt idx="25">
                  <c:v>-17.114683973739119</c:v>
                </c:pt>
                <c:pt idx="26">
                  <c:v>-17.054319106554697</c:v>
                </c:pt>
                <c:pt idx="27">
                  <c:v>-17.006900851439237</c:v>
                </c:pt>
                <c:pt idx="28">
                  <c:v>-16.905667363416839</c:v>
                </c:pt>
                <c:pt idx="29">
                  <c:v>-16.836654985359843</c:v>
                </c:pt>
                <c:pt idx="30">
                  <c:v>-16.770111811191367</c:v>
                </c:pt>
                <c:pt idx="31">
                  <c:v>-16.68607210849764</c:v>
                </c:pt>
                <c:pt idx="32">
                  <c:v>-16.627092821306046</c:v>
                </c:pt>
                <c:pt idx="33">
                  <c:v>-16.537092299758609</c:v>
                </c:pt>
                <c:pt idx="34">
                  <c:v>-16.461139593302065</c:v>
                </c:pt>
                <c:pt idx="35">
                  <c:v>-16.401338341257059</c:v>
                </c:pt>
                <c:pt idx="36">
                  <c:v>-16.311136282815216</c:v>
                </c:pt>
                <c:pt idx="37">
                  <c:v>-16.261615815083502</c:v>
                </c:pt>
                <c:pt idx="38">
                  <c:v>-16.215470216254086</c:v>
                </c:pt>
                <c:pt idx="39">
                  <c:v>-16.140581534075263</c:v>
                </c:pt>
                <c:pt idx="40">
                  <c:v>-16.085139727552331</c:v>
                </c:pt>
                <c:pt idx="41">
                  <c:v>-16.042075195496253</c:v>
                </c:pt>
                <c:pt idx="42">
                  <c:v>-15.974204775367452</c:v>
                </c:pt>
                <c:pt idx="43">
                  <c:v>-15.901414657446702</c:v>
                </c:pt>
                <c:pt idx="44">
                  <c:v>-15.825820491313731</c:v>
                </c:pt>
                <c:pt idx="45">
                  <c:v>-15.740152755680691</c:v>
                </c:pt>
                <c:pt idx="46">
                  <c:v>-15.696339833094054</c:v>
                </c:pt>
                <c:pt idx="47">
                  <c:v>-15.619674616939809</c:v>
                </c:pt>
                <c:pt idx="48">
                  <c:v>-15.624256057157517</c:v>
                </c:pt>
                <c:pt idx="49">
                  <c:v>-15.571339438744092</c:v>
                </c:pt>
                <c:pt idx="50">
                  <c:v>-15.501863395569469</c:v>
                </c:pt>
                <c:pt idx="51">
                  <c:v>-15.439493433180807</c:v>
                </c:pt>
                <c:pt idx="52">
                  <c:v>-15.370145101023278</c:v>
                </c:pt>
                <c:pt idx="53">
                  <c:v>-15.31770718799249</c:v>
                </c:pt>
                <c:pt idx="54">
                  <c:v>-15.258504946020487</c:v>
                </c:pt>
                <c:pt idx="55">
                  <c:v>-15.199253023885424</c:v>
                </c:pt>
                <c:pt idx="56">
                  <c:v>-15.137330413858555</c:v>
                </c:pt>
                <c:pt idx="57">
                  <c:v>-15.0627068150242</c:v>
                </c:pt>
                <c:pt idx="58">
                  <c:v>-15.008789152666948</c:v>
                </c:pt>
                <c:pt idx="59">
                  <c:v>-14.957430454666474</c:v>
                </c:pt>
                <c:pt idx="60">
                  <c:v>-14.896266662117808</c:v>
                </c:pt>
                <c:pt idx="61">
                  <c:v>-14.860414546655317</c:v>
                </c:pt>
                <c:pt idx="62">
                  <c:v>-14.805711244200875</c:v>
                </c:pt>
                <c:pt idx="63">
                  <c:v>-14.760200808561704</c:v>
                </c:pt>
                <c:pt idx="64">
                  <c:v>-14.696233173598609</c:v>
                </c:pt>
                <c:pt idx="65">
                  <c:v>-14.649023038241291</c:v>
                </c:pt>
                <c:pt idx="66">
                  <c:v>-14.592956494428398</c:v>
                </c:pt>
                <c:pt idx="67">
                  <c:v>-14.567256779205719</c:v>
                </c:pt>
                <c:pt idx="68">
                  <c:v>-14.495001482858775</c:v>
                </c:pt>
                <c:pt idx="69">
                  <c:v>-14.43701693212115</c:v>
                </c:pt>
                <c:pt idx="70">
                  <c:v>-14.358574558858193</c:v>
                </c:pt>
                <c:pt idx="71">
                  <c:v>-14.335984077726058</c:v>
                </c:pt>
                <c:pt idx="72">
                  <c:v>-14.304093975773641</c:v>
                </c:pt>
                <c:pt idx="73">
                  <c:v>-14.262860844851286</c:v>
                </c:pt>
                <c:pt idx="74">
                  <c:v>-14.229137201116822</c:v>
                </c:pt>
                <c:pt idx="75">
                  <c:v>-14.160201274662672</c:v>
                </c:pt>
                <c:pt idx="76">
                  <c:v>-14.132142337984417</c:v>
                </c:pt>
                <c:pt idx="77">
                  <c:v>-14.080570197289054</c:v>
                </c:pt>
                <c:pt idx="78">
                  <c:v>-14.032978004630047</c:v>
                </c:pt>
                <c:pt idx="79">
                  <c:v>-13.967570581024484</c:v>
                </c:pt>
                <c:pt idx="80">
                  <c:v>-13.923458310345493</c:v>
                </c:pt>
                <c:pt idx="81">
                  <c:v>-13.89509838628228</c:v>
                </c:pt>
                <c:pt idx="82">
                  <c:v>-13.840178430466107</c:v>
                </c:pt>
                <c:pt idx="83">
                  <c:v>-13.805056461282044</c:v>
                </c:pt>
                <c:pt idx="84">
                  <c:v>-13.730161404945122</c:v>
                </c:pt>
                <c:pt idx="85">
                  <c:v>-13.709870025862505</c:v>
                </c:pt>
                <c:pt idx="86">
                  <c:v>-13.666952620316703</c:v>
                </c:pt>
                <c:pt idx="87">
                  <c:v>-13.633205190701048</c:v>
                </c:pt>
                <c:pt idx="88">
                  <c:v>-13.578489556816393</c:v>
                </c:pt>
                <c:pt idx="89">
                  <c:v>-13.532007271572297</c:v>
                </c:pt>
                <c:pt idx="90">
                  <c:v>-13.494503903154826</c:v>
                </c:pt>
                <c:pt idx="91">
                  <c:v>-13.457189023854715</c:v>
                </c:pt>
                <c:pt idx="92">
                  <c:v>-13.402632721093237</c:v>
                </c:pt>
                <c:pt idx="93">
                  <c:v>-13.368464522509484</c:v>
                </c:pt>
                <c:pt idx="94">
                  <c:v>-13.309687438495246</c:v>
                </c:pt>
                <c:pt idx="95">
                  <c:v>-13.282751680555801</c:v>
                </c:pt>
                <c:pt idx="96">
                  <c:v>-13.242627809201085</c:v>
                </c:pt>
                <c:pt idx="97">
                  <c:v>-13.187916991053163</c:v>
                </c:pt>
                <c:pt idx="98">
                  <c:v>-13.183442537828244</c:v>
                </c:pt>
                <c:pt idx="99">
                  <c:v>-13.140863528511758</c:v>
                </c:pt>
                <c:pt idx="100">
                  <c:v>-13.11199564536212</c:v>
                </c:pt>
                <c:pt idx="101">
                  <c:v>-13.082160462101134</c:v>
                </c:pt>
                <c:pt idx="102">
                  <c:v>-13.028265306098191</c:v>
                </c:pt>
                <c:pt idx="103">
                  <c:v>-12.991444537092741</c:v>
                </c:pt>
                <c:pt idx="104">
                  <c:v>-12.957629896202526</c:v>
                </c:pt>
                <c:pt idx="105">
                  <c:v>-12.921966156183139</c:v>
                </c:pt>
                <c:pt idx="106">
                  <c:v>-12.916064279428896</c:v>
                </c:pt>
                <c:pt idx="107">
                  <c:v>-12.867566212575628</c:v>
                </c:pt>
                <c:pt idx="108">
                  <c:v>-12.848355669394252</c:v>
                </c:pt>
                <c:pt idx="109">
                  <c:v>-12.792356348849191</c:v>
                </c:pt>
                <c:pt idx="110">
                  <c:v>-12.754718332386341</c:v>
                </c:pt>
                <c:pt idx="111">
                  <c:v>-12.736761072126274</c:v>
                </c:pt>
                <c:pt idx="112">
                  <c:v>-12.679099656724617</c:v>
                </c:pt>
                <c:pt idx="113">
                  <c:v>-12.658240056323661</c:v>
                </c:pt>
                <c:pt idx="114">
                  <c:v>-12.610880595844003</c:v>
                </c:pt>
                <c:pt idx="115">
                  <c:v>-12.58567805972142</c:v>
                </c:pt>
                <c:pt idx="116">
                  <c:v>-12.563105483007273</c:v>
                </c:pt>
                <c:pt idx="117">
                  <c:v>-12.530515419917638</c:v>
                </c:pt>
                <c:pt idx="118">
                  <c:v>-12.496375628857642</c:v>
                </c:pt>
                <c:pt idx="119">
                  <c:v>-12.478686534585069</c:v>
                </c:pt>
                <c:pt idx="120">
                  <c:v>-12.450054158195003</c:v>
                </c:pt>
                <c:pt idx="121">
                  <c:v>-12.419520402434379</c:v>
                </c:pt>
                <c:pt idx="122">
                  <c:v>-12.397498180268329</c:v>
                </c:pt>
                <c:pt idx="123">
                  <c:v>-12.366088283823402</c:v>
                </c:pt>
                <c:pt idx="124">
                  <c:v>-12.335820672487392</c:v>
                </c:pt>
                <c:pt idx="125">
                  <c:v>-12.307174038281371</c:v>
                </c:pt>
                <c:pt idx="126">
                  <c:v>-12.267563259756736</c:v>
                </c:pt>
                <c:pt idx="127">
                  <c:v>-12.20338380268427</c:v>
                </c:pt>
                <c:pt idx="128">
                  <c:v>-12.186094756794146</c:v>
                </c:pt>
                <c:pt idx="129">
                  <c:v>-12.163801795502192</c:v>
                </c:pt>
                <c:pt idx="130">
                  <c:v>-12.155731001276269</c:v>
                </c:pt>
                <c:pt idx="131">
                  <c:v>-12.11619069930175</c:v>
                </c:pt>
                <c:pt idx="132">
                  <c:v>-12.098952321686925</c:v>
                </c:pt>
                <c:pt idx="133">
                  <c:v>-12.054142718807327</c:v>
                </c:pt>
                <c:pt idx="134">
                  <c:v>-12.037484577565889</c:v>
                </c:pt>
                <c:pt idx="135">
                  <c:v>-12.004035383996648</c:v>
                </c:pt>
                <c:pt idx="136">
                  <c:v>-11.960743519767117</c:v>
                </c:pt>
                <c:pt idx="137">
                  <c:v>-11.935224627484223</c:v>
                </c:pt>
                <c:pt idx="138">
                  <c:v>-11.923093006757604</c:v>
                </c:pt>
                <c:pt idx="139">
                  <c:v>-11.887687184303939</c:v>
                </c:pt>
                <c:pt idx="140">
                  <c:v>-11.887555776058363</c:v>
                </c:pt>
                <c:pt idx="141">
                  <c:v>-11.827596031626506</c:v>
                </c:pt>
                <c:pt idx="142">
                  <c:v>-11.813429276179347</c:v>
                </c:pt>
                <c:pt idx="143">
                  <c:v>-11.792410980199143</c:v>
                </c:pt>
                <c:pt idx="144">
                  <c:v>-11.754553220813087</c:v>
                </c:pt>
                <c:pt idx="145">
                  <c:v>-11.704891289278319</c:v>
                </c:pt>
                <c:pt idx="146">
                  <c:v>-11.691639067521157</c:v>
                </c:pt>
                <c:pt idx="147">
                  <c:v>-11.650139198841934</c:v>
                </c:pt>
                <c:pt idx="148">
                  <c:v>-11.637889123345509</c:v>
                </c:pt>
                <c:pt idx="149">
                  <c:v>-11.604966914452511</c:v>
                </c:pt>
                <c:pt idx="150">
                  <c:v>-11.616553454845022</c:v>
                </c:pt>
                <c:pt idx="151">
                  <c:v>-11.618361078329009</c:v>
                </c:pt>
                <c:pt idx="152">
                  <c:v>-11.592706375207262</c:v>
                </c:pt>
                <c:pt idx="153">
                  <c:v>-11.565561057194879</c:v>
                </c:pt>
                <c:pt idx="154">
                  <c:v>-11.572988910599069</c:v>
                </c:pt>
                <c:pt idx="155">
                  <c:v>-11.532392955761974</c:v>
                </c:pt>
                <c:pt idx="156">
                  <c:v>-11.525924410199799</c:v>
                </c:pt>
                <c:pt idx="157">
                  <c:v>-11.493566678245314</c:v>
                </c:pt>
                <c:pt idx="158">
                  <c:v>-11.495318044752961</c:v>
                </c:pt>
                <c:pt idx="159">
                  <c:v>-11.458511104298227</c:v>
                </c:pt>
                <c:pt idx="160">
                  <c:v>-11.417794738190551</c:v>
                </c:pt>
                <c:pt idx="161">
                  <c:v>-11.394298042623156</c:v>
                </c:pt>
                <c:pt idx="162">
                  <c:v>-11.391895474736426</c:v>
                </c:pt>
                <c:pt idx="163">
                  <c:v>-11.34006348931722</c:v>
                </c:pt>
                <c:pt idx="164">
                  <c:v>-11.31426270751945</c:v>
                </c:pt>
                <c:pt idx="165">
                  <c:v>-11.3049456192326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7E-4BEE-B714-EF38808B7767}"/>
            </c:ext>
          </c:extLst>
        </c:ser>
        <c:ser>
          <c:idx val="2"/>
          <c:order val="2"/>
          <c:tx>
            <c:strRef>
              <c:f>Temperaturmessung!$F$1</c:f>
              <c:strCache>
                <c:ptCount val="1"/>
                <c:pt idx="0">
                  <c:v>Minuspol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Temperaturmessung!$I:$I</c:f>
              <c:numCache>
                <c:formatCode>General</c:formatCode>
                <c:ptCount val="1048575"/>
                <c:pt idx="0">
                  <c:v>99</c:v>
                </c:pt>
                <c:pt idx="1">
                  <c:v>199</c:v>
                </c:pt>
                <c:pt idx="2">
                  <c:v>299</c:v>
                </c:pt>
                <c:pt idx="3">
                  <c:v>399</c:v>
                </c:pt>
                <c:pt idx="4">
                  <c:v>499</c:v>
                </c:pt>
                <c:pt idx="5">
                  <c:v>599</c:v>
                </c:pt>
                <c:pt idx="6">
                  <c:v>699</c:v>
                </c:pt>
                <c:pt idx="7">
                  <c:v>799</c:v>
                </c:pt>
                <c:pt idx="8">
                  <c:v>899</c:v>
                </c:pt>
                <c:pt idx="9">
                  <c:v>999</c:v>
                </c:pt>
                <c:pt idx="10">
                  <c:v>1099</c:v>
                </c:pt>
                <c:pt idx="11">
                  <c:v>1199</c:v>
                </c:pt>
                <c:pt idx="12">
                  <c:v>1299</c:v>
                </c:pt>
                <c:pt idx="13">
                  <c:v>1399</c:v>
                </c:pt>
                <c:pt idx="14">
                  <c:v>1499</c:v>
                </c:pt>
                <c:pt idx="15">
                  <c:v>1599</c:v>
                </c:pt>
                <c:pt idx="16">
                  <c:v>1699</c:v>
                </c:pt>
                <c:pt idx="17">
                  <c:v>1799</c:v>
                </c:pt>
                <c:pt idx="18">
                  <c:v>1899</c:v>
                </c:pt>
                <c:pt idx="19">
                  <c:v>1999</c:v>
                </c:pt>
                <c:pt idx="20">
                  <c:v>2099</c:v>
                </c:pt>
                <c:pt idx="21">
                  <c:v>2199</c:v>
                </c:pt>
                <c:pt idx="22">
                  <c:v>2299</c:v>
                </c:pt>
                <c:pt idx="23">
                  <c:v>2399</c:v>
                </c:pt>
                <c:pt idx="24">
                  <c:v>2499</c:v>
                </c:pt>
                <c:pt idx="25">
                  <c:v>2599</c:v>
                </c:pt>
                <c:pt idx="26">
                  <c:v>2699</c:v>
                </c:pt>
                <c:pt idx="27">
                  <c:v>2799</c:v>
                </c:pt>
                <c:pt idx="28">
                  <c:v>2899</c:v>
                </c:pt>
                <c:pt idx="29">
                  <c:v>2999</c:v>
                </c:pt>
                <c:pt idx="30">
                  <c:v>3099</c:v>
                </c:pt>
                <c:pt idx="31">
                  <c:v>3199</c:v>
                </c:pt>
                <c:pt idx="32">
                  <c:v>3299</c:v>
                </c:pt>
                <c:pt idx="33">
                  <c:v>3399</c:v>
                </c:pt>
                <c:pt idx="34">
                  <c:v>3499</c:v>
                </c:pt>
                <c:pt idx="35">
                  <c:v>3599</c:v>
                </c:pt>
                <c:pt idx="36">
                  <c:v>3699</c:v>
                </c:pt>
                <c:pt idx="37">
                  <c:v>3799</c:v>
                </c:pt>
                <c:pt idx="38">
                  <c:v>3899</c:v>
                </c:pt>
                <c:pt idx="39">
                  <c:v>3999</c:v>
                </c:pt>
                <c:pt idx="40">
                  <c:v>4099</c:v>
                </c:pt>
                <c:pt idx="41">
                  <c:v>4199</c:v>
                </c:pt>
                <c:pt idx="42">
                  <c:v>4299</c:v>
                </c:pt>
                <c:pt idx="43">
                  <c:v>4399</c:v>
                </c:pt>
                <c:pt idx="44">
                  <c:v>4499</c:v>
                </c:pt>
                <c:pt idx="45">
                  <c:v>4599</c:v>
                </c:pt>
                <c:pt idx="46">
                  <c:v>4699</c:v>
                </c:pt>
                <c:pt idx="47">
                  <c:v>4799</c:v>
                </c:pt>
                <c:pt idx="48">
                  <c:v>4899</c:v>
                </c:pt>
                <c:pt idx="49">
                  <c:v>4918</c:v>
                </c:pt>
                <c:pt idx="50">
                  <c:v>5018</c:v>
                </c:pt>
                <c:pt idx="51">
                  <c:v>5118</c:v>
                </c:pt>
                <c:pt idx="52">
                  <c:v>5218</c:v>
                </c:pt>
                <c:pt idx="53">
                  <c:v>5318</c:v>
                </c:pt>
                <c:pt idx="54">
                  <c:v>5418</c:v>
                </c:pt>
                <c:pt idx="55">
                  <c:v>5518</c:v>
                </c:pt>
                <c:pt idx="56">
                  <c:v>5618</c:v>
                </c:pt>
                <c:pt idx="57">
                  <c:v>5718</c:v>
                </c:pt>
                <c:pt idx="58">
                  <c:v>5818</c:v>
                </c:pt>
                <c:pt idx="59">
                  <c:v>5918</c:v>
                </c:pt>
                <c:pt idx="60">
                  <c:v>6018</c:v>
                </c:pt>
                <c:pt idx="61">
                  <c:v>6118</c:v>
                </c:pt>
                <c:pt idx="62">
                  <c:v>6218</c:v>
                </c:pt>
                <c:pt idx="63">
                  <c:v>6318</c:v>
                </c:pt>
                <c:pt idx="64">
                  <c:v>6418</c:v>
                </c:pt>
                <c:pt idx="65">
                  <c:v>6518</c:v>
                </c:pt>
                <c:pt idx="66">
                  <c:v>6618</c:v>
                </c:pt>
                <c:pt idx="67">
                  <c:v>6718</c:v>
                </c:pt>
                <c:pt idx="68">
                  <c:v>6818</c:v>
                </c:pt>
                <c:pt idx="69">
                  <c:v>6918</c:v>
                </c:pt>
                <c:pt idx="70">
                  <c:v>7018</c:v>
                </c:pt>
                <c:pt idx="71">
                  <c:v>7118</c:v>
                </c:pt>
                <c:pt idx="72">
                  <c:v>7218</c:v>
                </c:pt>
                <c:pt idx="73">
                  <c:v>7318</c:v>
                </c:pt>
                <c:pt idx="74">
                  <c:v>7418</c:v>
                </c:pt>
                <c:pt idx="75">
                  <c:v>7518</c:v>
                </c:pt>
                <c:pt idx="76">
                  <c:v>7618</c:v>
                </c:pt>
                <c:pt idx="77">
                  <c:v>7718</c:v>
                </c:pt>
                <c:pt idx="78">
                  <c:v>7818</c:v>
                </c:pt>
                <c:pt idx="79">
                  <c:v>7918</c:v>
                </c:pt>
                <c:pt idx="80">
                  <c:v>8018</c:v>
                </c:pt>
                <c:pt idx="81">
                  <c:v>8118</c:v>
                </c:pt>
                <c:pt idx="82">
                  <c:v>8218</c:v>
                </c:pt>
                <c:pt idx="83">
                  <c:v>8318</c:v>
                </c:pt>
                <c:pt idx="84">
                  <c:v>8418</c:v>
                </c:pt>
                <c:pt idx="85">
                  <c:v>8518</c:v>
                </c:pt>
                <c:pt idx="86">
                  <c:v>8618</c:v>
                </c:pt>
                <c:pt idx="87">
                  <c:v>8718</c:v>
                </c:pt>
                <c:pt idx="88">
                  <c:v>8818</c:v>
                </c:pt>
                <c:pt idx="89">
                  <c:v>8918</c:v>
                </c:pt>
                <c:pt idx="90">
                  <c:v>9018</c:v>
                </c:pt>
                <c:pt idx="91">
                  <c:v>9118</c:v>
                </c:pt>
                <c:pt idx="92">
                  <c:v>9218</c:v>
                </c:pt>
                <c:pt idx="93">
                  <c:v>9318</c:v>
                </c:pt>
                <c:pt idx="94">
                  <c:v>9418</c:v>
                </c:pt>
                <c:pt idx="95">
                  <c:v>9518</c:v>
                </c:pt>
                <c:pt idx="96">
                  <c:v>9618</c:v>
                </c:pt>
                <c:pt idx="97">
                  <c:v>9718</c:v>
                </c:pt>
                <c:pt idx="98">
                  <c:v>9818</c:v>
                </c:pt>
                <c:pt idx="99">
                  <c:v>9837</c:v>
                </c:pt>
                <c:pt idx="100">
                  <c:v>9937</c:v>
                </c:pt>
                <c:pt idx="101">
                  <c:v>10037</c:v>
                </c:pt>
                <c:pt idx="102">
                  <c:v>10137</c:v>
                </c:pt>
                <c:pt idx="103">
                  <c:v>10237</c:v>
                </c:pt>
                <c:pt idx="104">
                  <c:v>10337</c:v>
                </c:pt>
                <c:pt idx="105">
                  <c:v>10437</c:v>
                </c:pt>
                <c:pt idx="106">
                  <c:v>10537</c:v>
                </c:pt>
                <c:pt idx="107">
                  <c:v>10637</c:v>
                </c:pt>
                <c:pt idx="108">
                  <c:v>10737</c:v>
                </c:pt>
                <c:pt idx="109">
                  <c:v>10837</c:v>
                </c:pt>
                <c:pt idx="110">
                  <c:v>10937</c:v>
                </c:pt>
                <c:pt idx="111">
                  <c:v>11037</c:v>
                </c:pt>
                <c:pt idx="112">
                  <c:v>11137</c:v>
                </c:pt>
                <c:pt idx="113">
                  <c:v>11237</c:v>
                </c:pt>
                <c:pt idx="114">
                  <c:v>11337</c:v>
                </c:pt>
                <c:pt idx="115">
                  <c:v>11437</c:v>
                </c:pt>
                <c:pt idx="116">
                  <c:v>11537</c:v>
                </c:pt>
                <c:pt idx="117">
                  <c:v>11637</c:v>
                </c:pt>
                <c:pt idx="118">
                  <c:v>11737</c:v>
                </c:pt>
                <c:pt idx="119">
                  <c:v>11837</c:v>
                </c:pt>
                <c:pt idx="120">
                  <c:v>11937</c:v>
                </c:pt>
                <c:pt idx="121">
                  <c:v>12037</c:v>
                </c:pt>
                <c:pt idx="122">
                  <c:v>12137</c:v>
                </c:pt>
                <c:pt idx="123">
                  <c:v>12237</c:v>
                </c:pt>
                <c:pt idx="124">
                  <c:v>12337</c:v>
                </c:pt>
                <c:pt idx="125">
                  <c:v>12437</c:v>
                </c:pt>
                <c:pt idx="126">
                  <c:v>12537</c:v>
                </c:pt>
                <c:pt idx="127">
                  <c:v>12637</c:v>
                </c:pt>
                <c:pt idx="128">
                  <c:v>12737</c:v>
                </c:pt>
                <c:pt idx="129">
                  <c:v>12837</c:v>
                </c:pt>
                <c:pt idx="130">
                  <c:v>12937</c:v>
                </c:pt>
                <c:pt idx="131">
                  <c:v>13037</c:v>
                </c:pt>
                <c:pt idx="132">
                  <c:v>13137</c:v>
                </c:pt>
                <c:pt idx="133">
                  <c:v>13237</c:v>
                </c:pt>
                <c:pt idx="134">
                  <c:v>13337</c:v>
                </c:pt>
                <c:pt idx="135">
                  <c:v>13437</c:v>
                </c:pt>
                <c:pt idx="136">
                  <c:v>13537</c:v>
                </c:pt>
                <c:pt idx="137">
                  <c:v>13637</c:v>
                </c:pt>
                <c:pt idx="138">
                  <c:v>13737</c:v>
                </c:pt>
                <c:pt idx="139">
                  <c:v>13837</c:v>
                </c:pt>
                <c:pt idx="140">
                  <c:v>13937</c:v>
                </c:pt>
                <c:pt idx="141">
                  <c:v>14037</c:v>
                </c:pt>
                <c:pt idx="142">
                  <c:v>14137</c:v>
                </c:pt>
                <c:pt idx="143">
                  <c:v>14237</c:v>
                </c:pt>
                <c:pt idx="144">
                  <c:v>14337</c:v>
                </c:pt>
                <c:pt idx="145">
                  <c:v>14437</c:v>
                </c:pt>
                <c:pt idx="146">
                  <c:v>14537</c:v>
                </c:pt>
                <c:pt idx="147">
                  <c:v>14637</c:v>
                </c:pt>
                <c:pt idx="148">
                  <c:v>14737</c:v>
                </c:pt>
                <c:pt idx="149">
                  <c:v>14756</c:v>
                </c:pt>
                <c:pt idx="150">
                  <c:v>14856</c:v>
                </c:pt>
                <c:pt idx="151">
                  <c:v>14956</c:v>
                </c:pt>
                <c:pt idx="152">
                  <c:v>15056</c:v>
                </c:pt>
                <c:pt idx="153">
                  <c:v>15156</c:v>
                </c:pt>
                <c:pt idx="154">
                  <c:v>15256</c:v>
                </c:pt>
                <c:pt idx="155">
                  <c:v>15356</c:v>
                </c:pt>
                <c:pt idx="156">
                  <c:v>15456</c:v>
                </c:pt>
                <c:pt idx="157">
                  <c:v>15556</c:v>
                </c:pt>
                <c:pt idx="158">
                  <c:v>15656</c:v>
                </c:pt>
                <c:pt idx="159">
                  <c:v>15756</c:v>
                </c:pt>
                <c:pt idx="160">
                  <c:v>15856</c:v>
                </c:pt>
                <c:pt idx="161">
                  <c:v>15956</c:v>
                </c:pt>
                <c:pt idx="162">
                  <c:v>16056</c:v>
                </c:pt>
                <c:pt idx="163">
                  <c:v>16156</c:v>
                </c:pt>
                <c:pt idx="164">
                  <c:v>16256</c:v>
                </c:pt>
                <c:pt idx="165">
                  <c:v>16356</c:v>
                </c:pt>
                <c:pt idx="166">
                  <c:v>16456</c:v>
                </c:pt>
              </c:numCache>
            </c:numRef>
          </c:cat>
          <c:val>
            <c:numRef>
              <c:f>Temperaturmessung!$F$2:$F$198</c:f>
              <c:numCache>
                <c:formatCode>General</c:formatCode>
                <c:ptCount val="196"/>
                <c:pt idx="0">
                  <c:v>-17.358118377378716</c:v>
                </c:pt>
                <c:pt idx="1">
                  <c:v>-17.364563049097235</c:v>
                </c:pt>
                <c:pt idx="2">
                  <c:v>-17.347428033574172</c:v>
                </c:pt>
                <c:pt idx="3">
                  <c:v>-17.332125871230755</c:v>
                </c:pt>
                <c:pt idx="4">
                  <c:v>-17.344219573129124</c:v>
                </c:pt>
                <c:pt idx="5">
                  <c:v>-17.3589991816084</c:v>
                </c:pt>
                <c:pt idx="6">
                  <c:v>-17.378098701234478</c:v>
                </c:pt>
                <c:pt idx="7">
                  <c:v>-17.34609752253705</c:v>
                </c:pt>
                <c:pt idx="8">
                  <c:v>-17.317178139606803</c:v>
                </c:pt>
                <c:pt idx="9">
                  <c:v>-17.267885808592794</c:v>
                </c:pt>
                <c:pt idx="10">
                  <c:v>-17.193222319013717</c:v>
                </c:pt>
                <c:pt idx="11">
                  <c:v>-17.162810371635995</c:v>
                </c:pt>
                <c:pt idx="12">
                  <c:v>-17.110285767929156</c:v>
                </c:pt>
                <c:pt idx="13">
                  <c:v>-17.050408293451657</c:v>
                </c:pt>
                <c:pt idx="14">
                  <c:v>-16.98219178459744</c:v>
                </c:pt>
                <c:pt idx="15">
                  <c:v>-16.90783649605455</c:v>
                </c:pt>
                <c:pt idx="16">
                  <c:v>-16.801892018689433</c:v>
                </c:pt>
                <c:pt idx="17">
                  <c:v>-16.697386030025879</c:v>
                </c:pt>
                <c:pt idx="18">
                  <c:v>-16.613326309212123</c:v>
                </c:pt>
                <c:pt idx="19">
                  <c:v>-16.524993866853873</c:v>
                </c:pt>
                <c:pt idx="20">
                  <c:v>-16.441331391675941</c:v>
                </c:pt>
                <c:pt idx="21">
                  <c:v>-16.319412598340492</c:v>
                </c:pt>
                <c:pt idx="22">
                  <c:v>-16.235485172327468</c:v>
                </c:pt>
                <c:pt idx="23">
                  <c:v>-16.133637352988838</c:v>
                </c:pt>
                <c:pt idx="24">
                  <c:v>-16.05075485536354</c:v>
                </c:pt>
                <c:pt idx="25">
                  <c:v>-15.943573853025683</c:v>
                </c:pt>
                <c:pt idx="26">
                  <c:v>-15.848456718639826</c:v>
                </c:pt>
                <c:pt idx="27">
                  <c:v>-15.766027994882682</c:v>
                </c:pt>
                <c:pt idx="28">
                  <c:v>-15.648043212363557</c:v>
                </c:pt>
                <c:pt idx="29">
                  <c:v>-15.567304508308659</c:v>
                </c:pt>
                <c:pt idx="30">
                  <c:v>-15.456613811659384</c:v>
                </c:pt>
                <c:pt idx="31">
                  <c:v>-15.350485107658383</c:v>
                </c:pt>
                <c:pt idx="32">
                  <c:v>-15.258004781979235</c:v>
                </c:pt>
                <c:pt idx="33">
                  <c:v>-15.147149856486031</c:v>
                </c:pt>
                <c:pt idx="34">
                  <c:v>-15.062408399499695</c:v>
                </c:pt>
                <c:pt idx="35">
                  <c:v>-14.973478919875905</c:v>
                </c:pt>
                <c:pt idx="36">
                  <c:v>-14.864372765414586</c:v>
                </c:pt>
                <c:pt idx="37">
                  <c:v>-14.780638716264358</c:v>
                </c:pt>
                <c:pt idx="38">
                  <c:v>-14.695445527556494</c:v>
                </c:pt>
                <c:pt idx="39">
                  <c:v>-14.603812082264373</c:v>
                </c:pt>
                <c:pt idx="40">
                  <c:v>-14.523128932709032</c:v>
                </c:pt>
                <c:pt idx="41">
                  <c:v>-14.434265957814418</c:v>
                </c:pt>
                <c:pt idx="42">
                  <c:v>-14.367040249092353</c:v>
                </c:pt>
                <c:pt idx="43">
                  <c:v>-14.263752075464222</c:v>
                </c:pt>
                <c:pt idx="44">
                  <c:v>-14.16781610524936</c:v>
                </c:pt>
                <c:pt idx="45">
                  <c:v>-14.073908140472767</c:v>
                </c:pt>
                <c:pt idx="46">
                  <c:v>-14.001475045129272</c:v>
                </c:pt>
                <c:pt idx="47">
                  <c:v>-13.911725968896056</c:v>
                </c:pt>
                <c:pt idx="48">
                  <c:v>-13.886365801202221</c:v>
                </c:pt>
                <c:pt idx="49">
                  <c:v>-13.820310965057091</c:v>
                </c:pt>
                <c:pt idx="50">
                  <c:v>-13.730985343321066</c:v>
                </c:pt>
                <c:pt idx="51">
                  <c:v>-13.637170217046441</c:v>
                </c:pt>
                <c:pt idx="52">
                  <c:v>-13.566076165202368</c:v>
                </c:pt>
                <c:pt idx="53">
                  <c:v>-13.489654783020137</c:v>
                </c:pt>
                <c:pt idx="54">
                  <c:v>-13.40769805372647</c:v>
                </c:pt>
                <c:pt idx="55">
                  <c:v>-13.323284840471418</c:v>
                </c:pt>
                <c:pt idx="56">
                  <c:v>-13.25454023928854</c:v>
                </c:pt>
                <c:pt idx="57">
                  <c:v>-13.164692430945765</c:v>
                </c:pt>
                <c:pt idx="58">
                  <c:v>-13.098388928048577</c:v>
                </c:pt>
                <c:pt idx="59">
                  <c:v>-13.019452541463545</c:v>
                </c:pt>
                <c:pt idx="60">
                  <c:v>-12.937493528232785</c:v>
                </c:pt>
                <c:pt idx="61">
                  <c:v>-12.870895537767623</c:v>
                </c:pt>
                <c:pt idx="62">
                  <c:v>-12.806713196836089</c:v>
                </c:pt>
                <c:pt idx="63">
                  <c:v>-12.734349156389001</c:v>
                </c:pt>
                <c:pt idx="64">
                  <c:v>-12.659489589539124</c:v>
                </c:pt>
                <c:pt idx="65">
                  <c:v>-12.574839827757511</c:v>
                </c:pt>
                <c:pt idx="66">
                  <c:v>-12.515331481633075</c:v>
                </c:pt>
                <c:pt idx="67">
                  <c:v>-12.474776775140031</c:v>
                </c:pt>
                <c:pt idx="68">
                  <c:v>-12.380587670812014</c:v>
                </c:pt>
                <c:pt idx="69">
                  <c:v>-12.286904351880928</c:v>
                </c:pt>
                <c:pt idx="70">
                  <c:v>-12.205340037298113</c:v>
                </c:pt>
                <c:pt idx="71">
                  <c:v>-12.156579159552621</c:v>
                </c:pt>
                <c:pt idx="72">
                  <c:v>-12.097107368790754</c:v>
                </c:pt>
                <c:pt idx="73">
                  <c:v>-12.042047383433694</c:v>
                </c:pt>
                <c:pt idx="74">
                  <c:v>-11.993752057886496</c:v>
                </c:pt>
                <c:pt idx="75">
                  <c:v>-11.914454584591757</c:v>
                </c:pt>
                <c:pt idx="76">
                  <c:v>-11.860258235025118</c:v>
                </c:pt>
                <c:pt idx="77">
                  <c:v>-11.800437556727392</c:v>
                </c:pt>
                <c:pt idx="78">
                  <c:v>-11.720284584653941</c:v>
                </c:pt>
                <c:pt idx="79">
                  <c:v>-11.655341646548989</c:v>
                </c:pt>
                <c:pt idx="80">
                  <c:v>-11.597669086715175</c:v>
                </c:pt>
                <c:pt idx="81">
                  <c:v>-11.535492001855049</c:v>
                </c:pt>
                <c:pt idx="82">
                  <c:v>-11.48340973671406</c:v>
                </c:pt>
                <c:pt idx="83">
                  <c:v>-11.416425702413298</c:v>
                </c:pt>
                <c:pt idx="84">
                  <c:v>-11.354780888212531</c:v>
                </c:pt>
                <c:pt idx="85">
                  <c:v>-11.308111914826554</c:v>
                </c:pt>
                <c:pt idx="86">
                  <c:v>-11.236256700012863</c:v>
                </c:pt>
                <c:pt idx="87">
                  <c:v>-11.185082013478295</c:v>
                </c:pt>
                <c:pt idx="88">
                  <c:v>-11.124075554261522</c:v>
                </c:pt>
                <c:pt idx="89">
                  <c:v>-11.069110334029633</c:v>
                </c:pt>
                <c:pt idx="90">
                  <c:v>-11.005547944077444</c:v>
                </c:pt>
                <c:pt idx="91">
                  <c:v>-10.959720183395737</c:v>
                </c:pt>
                <c:pt idx="92">
                  <c:v>-10.895755509297729</c:v>
                </c:pt>
                <c:pt idx="93">
                  <c:v>-10.842733507749481</c:v>
                </c:pt>
                <c:pt idx="94">
                  <c:v>-10.772886698865779</c:v>
                </c:pt>
                <c:pt idx="95">
                  <c:v>-10.725873668071655</c:v>
                </c:pt>
                <c:pt idx="96">
                  <c:v>-10.677255770560896</c:v>
                </c:pt>
                <c:pt idx="97">
                  <c:v>-10.611226258322271</c:v>
                </c:pt>
                <c:pt idx="98">
                  <c:v>-10.607489648262693</c:v>
                </c:pt>
                <c:pt idx="99">
                  <c:v>-10.566276030135185</c:v>
                </c:pt>
                <c:pt idx="100">
                  <c:v>-10.516866408802416</c:v>
                </c:pt>
                <c:pt idx="101">
                  <c:v>-10.461453092368737</c:v>
                </c:pt>
                <c:pt idx="102">
                  <c:v>-10.405369258836327</c:v>
                </c:pt>
                <c:pt idx="103">
                  <c:v>-10.35260766240247</c:v>
                </c:pt>
                <c:pt idx="104">
                  <c:v>-10.313165640778823</c:v>
                </c:pt>
                <c:pt idx="105">
                  <c:v>-10.250277674743341</c:v>
                </c:pt>
                <c:pt idx="106">
                  <c:v>-10.205752858400764</c:v>
                </c:pt>
                <c:pt idx="107">
                  <c:v>-10.162013672568674</c:v>
                </c:pt>
                <c:pt idx="108">
                  <c:v>-10.119841064704991</c:v>
                </c:pt>
                <c:pt idx="109">
                  <c:v>-10.057353522442147</c:v>
                </c:pt>
                <c:pt idx="110">
                  <c:v>-10.0097930311528</c:v>
                </c:pt>
                <c:pt idx="111">
                  <c:v>-9.9580779117194869</c:v>
                </c:pt>
                <c:pt idx="112">
                  <c:v>-9.9208132782518224</c:v>
                </c:pt>
                <c:pt idx="113">
                  <c:v>-9.8839667168811847</c:v>
                </c:pt>
                <c:pt idx="114">
                  <c:v>-9.8300900410837873</c:v>
                </c:pt>
                <c:pt idx="115">
                  <c:v>-9.7774082677205811</c:v>
                </c:pt>
                <c:pt idx="116">
                  <c:v>-9.7343043405361485</c:v>
                </c:pt>
                <c:pt idx="117">
                  <c:v>-9.6948994737040959</c:v>
                </c:pt>
                <c:pt idx="118">
                  <c:v>-9.6649845681915529</c:v>
                </c:pt>
                <c:pt idx="119">
                  <c:v>-9.6277068482793204</c:v>
                </c:pt>
                <c:pt idx="120">
                  <c:v>-9.5783366867047484</c:v>
                </c:pt>
                <c:pt idx="121">
                  <c:v>-9.5299535901890433</c:v>
                </c:pt>
                <c:pt idx="122">
                  <c:v>-9.4981984259663914</c:v>
                </c:pt>
                <c:pt idx="123">
                  <c:v>-9.4587766422606325</c:v>
                </c:pt>
                <c:pt idx="124">
                  <c:v>-9.4231301650515427</c:v>
                </c:pt>
                <c:pt idx="125">
                  <c:v>-9.3780709305744967</c:v>
                </c:pt>
                <c:pt idx="126">
                  <c:v>-9.3350431110152901</c:v>
                </c:pt>
                <c:pt idx="127">
                  <c:v>-9.2824185798369623</c:v>
                </c:pt>
                <c:pt idx="128">
                  <c:v>-9.2412404186053987</c:v>
                </c:pt>
                <c:pt idx="129">
                  <c:v>-9.2104212368030325</c:v>
                </c:pt>
                <c:pt idx="130">
                  <c:v>-9.1880084212966793</c:v>
                </c:pt>
                <c:pt idx="131">
                  <c:v>-9.1438570165732322</c:v>
                </c:pt>
                <c:pt idx="132">
                  <c:v>-9.114237806172774</c:v>
                </c:pt>
                <c:pt idx="133">
                  <c:v>-9.0600516153605213</c:v>
                </c:pt>
                <c:pt idx="134">
                  <c:v>-9.0185542246977217</c:v>
                </c:pt>
                <c:pt idx="135">
                  <c:v>-8.9869388550258975</c:v>
                </c:pt>
                <c:pt idx="136">
                  <c:v>-8.9443292343589178</c:v>
                </c:pt>
                <c:pt idx="137">
                  <c:v>-8.9076719810370157</c:v>
                </c:pt>
                <c:pt idx="138">
                  <c:v>-8.8673337790279803</c:v>
                </c:pt>
                <c:pt idx="139">
                  <c:v>-8.8304202509566956</c:v>
                </c:pt>
                <c:pt idx="140">
                  <c:v>-8.8094530211474744</c:v>
                </c:pt>
                <c:pt idx="141">
                  <c:v>-8.7447529723679995</c:v>
                </c:pt>
                <c:pt idx="142">
                  <c:v>-8.7273021156431749</c:v>
                </c:pt>
                <c:pt idx="143">
                  <c:v>-8.6884266611810261</c:v>
                </c:pt>
                <c:pt idx="144">
                  <c:v>-8.6548236258119289</c:v>
                </c:pt>
                <c:pt idx="145">
                  <c:v>-8.6039670908593955</c:v>
                </c:pt>
                <c:pt idx="146">
                  <c:v>-8.5675574180490877</c:v>
                </c:pt>
                <c:pt idx="147">
                  <c:v>-8.5389491635178469</c:v>
                </c:pt>
                <c:pt idx="148">
                  <c:v>-8.5370526861742135</c:v>
                </c:pt>
                <c:pt idx="149">
                  <c:v>-8.4961528974236664</c:v>
                </c:pt>
                <c:pt idx="150">
                  <c:v>-8.4760860285511601</c:v>
                </c:pt>
                <c:pt idx="151">
                  <c:v>-8.4599327983526358</c:v>
                </c:pt>
                <c:pt idx="152">
                  <c:v>-8.4236357420997816</c:v>
                </c:pt>
                <c:pt idx="153">
                  <c:v>-8.393275939892165</c:v>
                </c:pt>
                <c:pt idx="154">
                  <c:v>-8.3786484672441741</c:v>
                </c:pt>
                <c:pt idx="155">
                  <c:v>-8.355248942318795</c:v>
                </c:pt>
                <c:pt idx="156">
                  <c:v>-8.3356510951187435</c:v>
                </c:pt>
                <c:pt idx="157">
                  <c:v>-8.2902963383182584</c:v>
                </c:pt>
                <c:pt idx="158">
                  <c:v>-8.278638899075494</c:v>
                </c:pt>
                <c:pt idx="159">
                  <c:v>-8.2441736208895442</c:v>
                </c:pt>
                <c:pt idx="160">
                  <c:v>-8.1907462943868925</c:v>
                </c:pt>
                <c:pt idx="161">
                  <c:v>-8.167849007730922</c:v>
                </c:pt>
                <c:pt idx="162">
                  <c:v>-8.1432104168901063</c:v>
                </c:pt>
                <c:pt idx="163">
                  <c:v>-8.0890163192248767</c:v>
                </c:pt>
                <c:pt idx="164">
                  <c:v>-8.061675477769132</c:v>
                </c:pt>
                <c:pt idx="165">
                  <c:v>-8.0536028832206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7E-4BEE-B714-EF38808B7767}"/>
            </c:ext>
          </c:extLst>
        </c:ser>
        <c:ser>
          <c:idx val="3"/>
          <c:order val="3"/>
          <c:tx>
            <c:strRef>
              <c:f>Temperaturmessung!$C$1</c:f>
              <c:strCache>
                <c:ptCount val="1"/>
                <c:pt idx="0">
                  <c:v>Heizfolie/Bode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emperaturmessung!$I:$I</c:f>
              <c:numCache>
                <c:formatCode>General</c:formatCode>
                <c:ptCount val="1048575"/>
                <c:pt idx="0">
                  <c:v>99</c:v>
                </c:pt>
                <c:pt idx="1">
                  <c:v>199</c:v>
                </c:pt>
                <c:pt idx="2">
                  <c:v>299</c:v>
                </c:pt>
                <c:pt idx="3">
                  <c:v>399</c:v>
                </c:pt>
                <c:pt idx="4">
                  <c:v>499</c:v>
                </c:pt>
                <c:pt idx="5">
                  <c:v>599</c:v>
                </c:pt>
                <c:pt idx="6">
                  <c:v>699</c:v>
                </c:pt>
                <c:pt idx="7">
                  <c:v>799</c:v>
                </c:pt>
                <c:pt idx="8">
                  <c:v>899</c:v>
                </c:pt>
                <c:pt idx="9">
                  <c:v>999</c:v>
                </c:pt>
                <c:pt idx="10">
                  <c:v>1099</c:v>
                </c:pt>
                <c:pt idx="11">
                  <c:v>1199</c:v>
                </c:pt>
                <c:pt idx="12">
                  <c:v>1299</c:v>
                </c:pt>
                <c:pt idx="13">
                  <c:v>1399</c:v>
                </c:pt>
                <c:pt idx="14">
                  <c:v>1499</c:v>
                </c:pt>
                <c:pt idx="15">
                  <c:v>1599</c:v>
                </c:pt>
                <c:pt idx="16">
                  <c:v>1699</c:v>
                </c:pt>
                <c:pt idx="17">
                  <c:v>1799</c:v>
                </c:pt>
                <c:pt idx="18">
                  <c:v>1899</c:v>
                </c:pt>
                <c:pt idx="19">
                  <c:v>1999</c:v>
                </c:pt>
                <c:pt idx="20">
                  <c:v>2099</c:v>
                </c:pt>
                <c:pt idx="21">
                  <c:v>2199</c:v>
                </c:pt>
                <c:pt idx="22">
                  <c:v>2299</c:v>
                </c:pt>
                <c:pt idx="23">
                  <c:v>2399</c:v>
                </c:pt>
                <c:pt idx="24">
                  <c:v>2499</c:v>
                </c:pt>
                <c:pt idx="25">
                  <c:v>2599</c:v>
                </c:pt>
                <c:pt idx="26">
                  <c:v>2699</c:v>
                </c:pt>
                <c:pt idx="27">
                  <c:v>2799</c:v>
                </c:pt>
                <c:pt idx="28">
                  <c:v>2899</c:v>
                </c:pt>
                <c:pt idx="29">
                  <c:v>2999</c:v>
                </c:pt>
                <c:pt idx="30">
                  <c:v>3099</c:v>
                </c:pt>
                <c:pt idx="31">
                  <c:v>3199</c:v>
                </c:pt>
                <c:pt idx="32">
                  <c:v>3299</c:v>
                </c:pt>
                <c:pt idx="33">
                  <c:v>3399</c:v>
                </c:pt>
                <c:pt idx="34">
                  <c:v>3499</c:v>
                </c:pt>
                <c:pt idx="35">
                  <c:v>3599</c:v>
                </c:pt>
                <c:pt idx="36">
                  <c:v>3699</c:v>
                </c:pt>
                <c:pt idx="37">
                  <c:v>3799</c:v>
                </c:pt>
                <c:pt idx="38">
                  <c:v>3899</c:v>
                </c:pt>
                <c:pt idx="39">
                  <c:v>3999</c:v>
                </c:pt>
                <c:pt idx="40">
                  <c:v>4099</c:v>
                </c:pt>
                <c:pt idx="41">
                  <c:v>4199</c:v>
                </c:pt>
                <c:pt idx="42">
                  <c:v>4299</c:v>
                </c:pt>
                <c:pt idx="43">
                  <c:v>4399</c:v>
                </c:pt>
                <c:pt idx="44">
                  <c:v>4499</c:v>
                </c:pt>
                <c:pt idx="45">
                  <c:v>4599</c:v>
                </c:pt>
                <c:pt idx="46">
                  <c:v>4699</c:v>
                </c:pt>
                <c:pt idx="47">
                  <c:v>4799</c:v>
                </c:pt>
                <c:pt idx="48">
                  <c:v>4899</c:v>
                </c:pt>
                <c:pt idx="49">
                  <c:v>4918</c:v>
                </c:pt>
                <c:pt idx="50">
                  <c:v>5018</c:v>
                </c:pt>
                <c:pt idx="51">
                  <c:v>5118</c:v>
                </c:pt>
                <c:pt idx="52">
                  <c:v>5218</c:v>
                </c:pt>
                <c:pt idx="53">
                  <c:v>5318</c:v>
                </c:pt>
                <c:pt idx="54">
                  <c:v>5418</c:v>
                </c:pt>
                <c:pt idx="55">
                  <c:v>5518</c:v>
                </c:pt>
                <c:pt idx="56">
                  <c:v>5618</c:v>
                </c:pt>
                <c:pt idx="57">
                  <c:v>5718</c:v>
                </c:pt>
                <c:pt idx="58">
                  <c:v>5818</c:v>
                </c:pt>
                <c:pt idx="59">
                  <c:v>5918</c:v>
                </c:pt>
                <c:pt idx="60">
                  <c:v>6018</c:v>
                </c:pt>
                <c:pt idx="61">
                  <c:v>6118</c:v>
                </c:pt>
                <c:pt idx="62">
                  <c:v>6218</c:v>
                </c:pt>
                <c:pt idx="63">
                  <c:v>6318</c:v>
                </c:pt>
                <c:pt idx="64">
                  <c:v>6418</c:v>
                </c:pt>
                <c:pt idx="65">
                  <c:v>6518</c:v>
                </c:pt>
                <c:pt idx="66">
                  <c:v>6618</c:v>
                </c:pt>
                <c:pt idx="67">
                  <c:v>6718</c:v>
                </c:pt>
                <c:pt idx="68">
                  <c:v>6818</c:v>
                </c:pt>
                <c:pt idx="69">
                  <c:v>6918</c:v>
                </c:pt>
                <c:pt idx="70">
                  <c:v>7018</c:v>
                </c:pt>
                <c:pt idx="71">
                  <c:v>7118</c:v>
                </c:pt>
                <c:pt idx="72">
                  <c:v>7218</c:v>
                </c:pt>
                <c:pt idx="73">
                  <c:v>7318</c:v>
                </c:pt>
                <c:pt idx="74">
                  <c:v>7418</c:v>
                </c:pt>
                <c:pt idx="75">
                  <c:v>7518</c:v>
                </c:pt>
                <c:pt idx="76">
                  <c:v>7618</c:v>
                </c:pt>
                <c:pt idx="77">
                  <c:v>7718</c:v>
                </c:pt>
                <c:pt idx="78">
                  <c:v>7818</c:v>
                </c:pt>
                <c:pt idx="79">
                  <c:v>7918</c:v>
                </c:pt>
                <c:pt idx="80">
                  <c:v>8018</c:v>
                </c:pt>
                <c:pt idx="81">
                  <c:v>8118</c:v>
                </c:pt>
                <c:pt idx="82">
                  <c:v>8218</c:v>
                </c:pt>
                <c:pt idx="83">
                  <c:v>8318</c:v>
                </c:pt>
                <c:pt idx="84">
                  <c:v>8418</c:v>
                </c:pt>
                <c:pt idx="85">
                  <c:v>8518</c:v>
                </c:pt>
                <c:pt idx="86">
                  <c:v>8618</c:v>
                </c:pt>
                <c:pt idx="87">
                  <c:v>8718</c:v>
                </c:pt>
                <c:pt idx="88">
                  <c:v>8818</c:v>
                </c:pt>
                <c:pt idx="89">
                  <c:v>8918</c:v>
                </c:pt>
                <c:pt idx="90">
                  <c:v>9018</c:v>
                </c:pt>
                <c:pt idx="91">
                  <c:v>9118</c:v>
                </c:pt>
                <c:pt idx="92">
                  <c:v>9218</c:v>
                </c:pt>
                <c:pt idx="93">
                  <c:v>9318</c:v>
                </c:pt>
                <c:pt idx="94">
                  <c:v>9418</c:v>
                </c:pt>
                <c:pt idx="95">
                  <c:v>9518</c:v>
                </c:pt>
                <c:pt idx="96">
                  <c:v>9618</c:v>
                </c:pt>
                <c:pt idx="97">
                  <c:v>9718</c:v>
                </c:pt>
                <c:pt idx="98">
                  <c:v>9818</c:v>
                </c:pt>
                <c:pt idx="99">
                  <c:v>9837</c:v>
                </c:pt>
                <c:pt idx="100">
                  <c:v>9937</c:v>
                </c:pt>
                <c:pt idx="101">
                  <c:v>10037</c:v>
                </c:pt>
                <c:pt idx="102">
                  <c:v>10137</c:v>
                </c:pt>
                <c:pt idx="103">
                  <c:v>10237</c:v>
                </c:pt>
                <c:pt idx="104">
                  <c:v>10337</c:v>
                </c:pt>
                <c:pt idx="105">
                  <c:v>10437</c:v>
                </c:pt>
                <c:pt idx="106">
                  <c:v>10537</c:v>
                </c:pt>
                <c:pt idx="107">
                  <c:v>10637</c:v>
                </c:pt>
                <c:pt idx="108">
                  <c:v>10737</c:v>
                </c:pt>
                <c:pt idx="109">
                  <c:v>10837</c:v>
                </c:pt>
                <c:pt idx="110">
                  <c:v>10937</c:v>
                </c:pt>
                <c:pt idx="111">
                  <c:v>11037</c:v>
                </c:pt>
                <c:pt idx="112">
                  <c:v>11137</c:v>
                </c:pt>
                <c:pt idx="113">
                  <c:v>11237</c:v>
                </c:pt>
                <c:pt idx="114">
                  <c:v>11337</c:v>
                </c:pt>
                <c:pt idx="115">
                  <c:v>11437</c:v>
                </c:pt>
                <c:pt idx="116">
                  <c:v>11537</c:v>
                </c:pt>
                <c:pt idx="117">
                  <c:v>11637</c:v>
                </c:pt>
                <c:pt idx="118">
                  <c:v>11737</c:v>
                </c:pt>
                <c:pt idx="119">
                  <c:v>11837</c:v>
                </c:pt>
                <c:pt idx="120">
                  <c:v>11937</c:v>
                </c:pt>
                <c:pt idx="121">
                  <c:v>12037</c:v>
                </c:pt>
                <c:pt idx="122">
                  <c:v>12137</c:v>
                </c:pt>
                <c:pt idx="123">
                  <c:v>12237</c:v>
                </c:pt>
                <c:pt idx="124">
                  <c:v>12337</c:v>
                </c:pt>
                <c:pt idx="125">
                  <c:v>12437</c:v>
                </c:pt>
                <c:pt idx="126">
                  <c:v>12537</c:v>
                </c:pt>
                <c:pt idx="127">
                  <c:v>12637</c:v>
                </c:pt>
                <c:pt idx="128">
                  <c:v>12737</c:v>
                </c:pt>
                <c:pt idx="129">
                  <c:v>12837</c:v>
                </c:pt>
                <c:pt idx="130">
                  <c:v>12937</c:v>
                </c:pt>
                <c:pt idx="131">
                  <c:v>13037</c:v>
                </c:pt>
                <c:pt idx="132">
                  <c:v>13137</c:v>
                </c:pt>
                <c:pt idx="133">
                  <c:v>13237</c:v>
                </c:pt>
                <c:pt idx="134">
                  <c:v>13337</c:v>
                </c:pt>
                <c:pt idx="135">
                  <c:v>13437</c:v>
                </c:pt>
                <c:pt idx="136">
                  <c:v>13537</c:v>
                </c:pt>
                <c:pt idx="137">
                  <c:v>13637</c:v>
                </c:pt>
                <c:pt idx="138">
                  <c:v>13737</c:v>
                </c:pt>
                <c:pt idx="139">
                  <c:v>13837</c:v>
                </c:pt>
                <c:pt idx="140">
                  <c:v>13937</c:v>
                </c:pt>
                <c:pt idx="141">
                  <c:v>14037</c:v>
                </c:pt>
                <c:pt idx="142">
                  <c:v>14137</c:v>
                </c:pt>
                <c:pt idx="143">
                  <c:v>14237</c:v>
                </c:pt>
                <c:pt idx="144">
                  <c:v>14337</c:v>
                </c:pt>
                <c:pt idx="145">
                  <c:v>14437</c:v>
                </c:pt>
                <c:pt idx="146">
                  <c:v>14537</c:v>
                </c:pt>
                <c:pt idx="147">
                  <c:v>14637</c:v>
                </c:pt>
                <c:pt idx="148">
                  <c:v>14737</c:v>
                </c:pt>
                <c:pt idx="149">
                  <c:v>14756</c:v>
                </c:pt>
                <c:pt idx="150">
                  <c:v>14856</c:v>
                </c:pt>
                <c:pt idx="151">
                  <c:v>14956</c:v>
                </c:pt>
                <c:pt idx="152">
                  <c:v>15056</c:v>
                </c:pt>
                <c:pt idx="153">
                  <c:v>15156</c:v>
                </c:pt>
                <c:pt idx="154">
                  <c:v>15256</c:v>
                </c:pt>
                <c:pt idx="155">
                  <c:v>15356</c:v>
                </c:pt>
                <c:pt idx="156">
                  <c:v>15456</c:v>
                </c:pt>
                <c:pt idx="157">
                  <c:v>15556</c:v>
                </c:pt>
                <c:pt idx="158">
                  <c:v>15656</c:v>
                </c:pt>
                <c:pt idx="159">
                  <c:v>15756</c:v>
                </c:pt>
                <c:pt idx="160">
                  <c:v>15856</c:v>
                </c:pt>
                <c:pt idx="161">
                  <c:v>15956</c:v>
                </c:pt>
                <c:pt idx="162">
                  <c:v>16056</c:v>
                </c:pt>
                <c:pt idx="163">
                  <c:v>16156</c:v>
                </c:pt>
                <c:pt idx="164">
                  <c:v>16256</c:v>
                </c:pt>
                <c:pt idx="165">
                  <c:v>16356</c:v>
                </c:pt>
                <c:pt idx="166">
                  <c:v>16456</c:v>
                </c:pt>
              </c:numCache>
            </c:numRef>
          </c:cat>
          <c:val>
            <c:numRef>
              <c:f>Temperaturmessung!$C$2:$C$198</c:f>
              <c:numCache>
                <c:formatCode>General</c:formatCode>
                <c:ptCount val="196"/>
                <c:pt idx="0">
                  <c:v>-17.350354579639795</c:v>
                </c:pt>
                <c:pt idx="1">
                  <c:v>-17.354858220686268</c:v>
                </c:pt>
                <c:pt idx="2">
                  <c:v>-17.338451297483562</c:v>
                </c:pt>
                <c:pt idx="3">
                  <c:v>-17.313445131036442</c:v>
                </c:pt>
                <c:pt idx="4">
                  <c:v>-17.318502892433912</c:v>
                </c:pt>
                <c:pt idx="5">
                  <c:v>-4.3453099048079604</c:v>
                </c:pt>
                <c:pt idx="6">
                  <c:v>-2.9609379561495124</c:v>
                </c:pt>
                <c:pt idx="7">
                  <c:v>-2.4131077218342982</c:v>
                </c:pt>
                <c:pt idx="8">
                  <c:v>-2.0614268846330956</c:v>
                </c:pt>
                <c:pt idx="9">
                  <c:v>-1.7605717094307367</c:v>
                </c:pt>
                <c:pt idx="10">
                  <c:v>-1.4848200727923024</c:v>
                </c:pt>
                <c:pt idx="11">
                  <c:v>-1.3068817521770122</c:v>
                </c:pt>
                <c:pt idx="12">
                  <c:v>-1.1857284111860029</c:v>
                </c:pt>
                <c:pt idx="13">
                  <c:v>-0.99372212471077859</c:v>
                </c:pt>
                <c:pt idx="14">
                  <c:v>-0.85205688238613719</c:v>
                </c:pt>
                <c:pt idx="15">
                  <c:v>-0.72306878576063305</c:v>
                </c:pt>
                <c:pt idx="16">
                  <c:v>-0.57432218056035655</c:v>
                </c:pt>
                <c:pt idx="17">
                  <c:v>-0.44393530543156995</c:v>
                </c:pt>
                <c:pt idx="18">
                  <c:v>-0.32823106323430029</c:v>
                </c:pt>
                <c:pt idx="19">
                  <c:v>-0.21593481173812029</c:v>
                </c:pt>
                <c:pt idx="20">
                  <c:v>-8.6381839135906843E-2</c:v>
                </c:pt>
                <c:pt idx="21">
                  <c:v>5.3698139798407186E-2</c:v>
                </c:pt>
                <c:pt idx="22">
                  <c:v>0.13744598806825517</c:v>
                </c:pt>
                <c:pt idx="23">
                  <c:v>0.25648213320817753</c:v>
                </c:pt>
                <c:pt idx="24">
                  <c:v>0.35747123280232879</c:v>
                </c:pt>
                <c:pt idx="25">
                  <c:v>0.47607974281097598</c:v>
                </c:pt>
                <c:pt idx="26">
                  <c:v>0.56951273360754173</c:v>
                </c:pt>
                <c:pt idx="27">
                  <c:v>0.66286147994084998</c:v>
                </c:pt>
                <c:pt idx="28">
                  <c:v>0.79171844068944508</c:v>
                </c:pt>
                <c:pt idx="29">
                  <c:v>0.87248115010625571</c:v>
                </c:pt>
                <c:pt idx="30">
                  <c:v>0.97587289282954526</c:v>
                </c:pt>
                <c:pt idx="31">
                  <c:v>1.0867937366533049</c:v>
                </c:pt>
                <c:pt idx="32">
                  <c:v>1.1819760857582018</c:v>
                </c:pt>
                <c:pt idx="33">
                  <c:v>1.2626811935070978</c:v>
                </c:pt>
                <c:pt idx="34">
                  <c:v>1.3672377714571393</c:v>
                </c:pt>
                <c:pt idx="35">
                  <c:v>1.4742182809565829</c:v>
                </c:pt>
                <c:pt idx="36">
                  <c:v>1.5698716696916368</c:v>
                </c:pt>
                <c:pt idx="37">
                  <c:v>1.6639114698769037</c:v>
                </c:pt>
                <c:pt idx="38">
                  <c:v>1.7434830324133255</c:v>
                </c:pt>
                <c:pt idx="39">
                  <c:v>1.8395759791854986</c:v>
                </c:pt>
                <c:pt idx="40">
                  <c:v>1.9215846619125978</c:v>
                </c:pt>
                <c:pt idx="41">
                  <c:v>1.9984299149221303</c:v>
                </c:pt>
                <c:pt idx="42">
                  <c:v>2.0854327028192081</c:v>
                </c:pt>
                <c:pt idx="43">
                  <c:v>2.1827999885466678</c:v>
                </c:pt>
                <c:pt idx="44">
                  <c:v>2.276339250414114</c:v>
                </c:pt>
                <c:pt idx="45">
                  <c:v>2.3639564118058876</c:v>
                </c:pt>
                <c:pt idx="46">
                  <c:v>2.4469223843467622</c:v>
                </c:pt>
                <c:pt idx="47">
                  <c:v>2.5314706440366184</c:v>
                </c:pt>
                <c:pt idx="48">
                  <c:v>2.5543878542024099</c:v>
                </c:pt>
                <c:pt idx="49">
                  <c:v>2.6258227736738378</c:v>
                </c:pt>
                <c:pt idx="50">
                  <c:v>2.7181635824149701</c:v>
                </c:pt>
                <c:pt idx="51">
                  <c:v>2.7926636694229821</c:v>
                </c:pt>
                <c:pt idx="52">
                  <c:v>2.8755467739558171</c:v>
                </c:pt>
                <c:pt idx="53">
                  <c:v>2.9572883480345404</c:v>
                </c:pt>
                <c:pt idx="54">
                  <c:v>3.0392600831052405</c:v>
                </c:pt>
                <c:pt idx="55">
                  <c:v>3.1229205538888847</c:v>
                </c:pt>
                <c:pt idx="56">
                  <c:v>3.2021562048944676</c:v>
                </c:pt>
                <c:pt idx="57">
                  <c:v>3.288998893546573</c:v>
                </c:pt>
                <c:pt idx="58">
                  <c:v>3.3523296940296508</c:v>
                </c:pt>
                <c:pt idx="59">
                  <c:v>3.4351573351161058</c:v>
                </c:pt>
                <c:pt idx="60">
                  <c:v>3.5087724837587895</c:v>
                </c:pt>
                <c:pt idx="61">
                  <c:v>3.5943760404968863</c:v>
                </c:pt>
                <c:pt idx="62">
                  <c:v>3.6682957239045186</c:v>
                </c:pt>
                <c:pt idx="63">
                  <c:v>3.7410420233685282</c:v>
                </c:pt>
                <c:pt idx="64">
                  <c:v>3.8169169432000092</c:v>
                </c:pt>
                <c:pt idx="65">
                  <c:v>3.8955194812210587</c:v>
                </c:pt>
                <c:pt idx="66">
                  <c:v>3.962593738422564</c:v>
                </c:pt>
                <c:pt idx="67">
                  <c:v>4.0108169994107508</c:v>
                </c:pt>
                <c:pt idx="68">
                  <c:v>4.094724111356868</c:v>
                </c:pt>
                <c:pt idx="69">
                  <c:v>4.1765167985012042</c:v>
                </c:pt>
                <c:pt idx="70">
                  <c:v>4.2437554851979566</c:v>
                </c:pt>
                <c:pt idx="71">
                  <c:v>4.3121111277656254</c:v>
                </c:pt>
                <c:pt idx="72">
                  <c:v>4.3721729710627555</c:v>
                </c:pt>
                <c:pt idx="73">
                  <c:v>4.4309944180290586</c:v>
                </c:pt>
                <c:pt idx="74">
                  <c:v>4.4890942254840729</c:v>
                </c:pt>
                <c:pt idx="75">
                  <c:v>4.5625759798356169</c:v>
                </c:pt>
                <c:pt idx="76">
                  <c:v>4.6222076319426852</c:v>
                </c:pt>
                <c:pt idx="77">
                  <c:v>4.6915104541086956</c:v>
                </c:pt>
                <c:pt idx="78">
                  <c:v>4.7564970872741918</c:v>
                </c:pt>
                <c:pt idx="79">
                  <c:v>4.8307857576392745</c:v>
                </c:pt>
                <c:pt idx="80">
                  <c:v>4.8896063816753861</c:v>
                </c:pt>
                <c:pt idx="81">
                  <c:v>4.9418255756529037</c:v>
                </c:pt>
                <c:pt idx="82">
                  <c:v>5.0015328613382843</c:v>
                </c:pt>
                <c:pt idx="83">
                  <c:v>5.0668429586979356</c:v>
                </c:pt>
                <c:pt idx="84">
                  <c:v>5.1412231770329084</c:v>
                </c:pt>
                <c:pt idx="85">
                  <c:v>5.180028325272592</c:v>
                </c:pt>
                <c:pt idx="86">
                  <c:v>5.2477511002376787</c:v>
                </c:pt>
                <c:pt idx="87">
                  <c:v>5.3082315239293107</c:v>
                </c:pt>
                <c:pt idx="88">
                  <c:v>5.3691593809907205</c:v>
                </c:pt>
                <c:pt idx="89">
                  <c:v>5.4253879812631594</c:v>
                </c:pt>
                <c:pt idx="90">
                  <c:v>5.4764273769136365</c:v>
                </c:pt>
                <c:pt idx="91">
                  <c:v>5.5389668732309918</c:v>
                </c:pt>
                <c:pt idx="92">
                  <c:v>5.6074608290884278</c:v>
                </c:pt>
                <c:pt idx="93">
                  <c:v>5.6484997726974404</c:v>
                </c:pt>
                <c:pt idx="94">
                  <c:v>5.7245919653754704</c:v>
                </c:pt>
                <c:pt idx="95">
                  <c:v>5.7663372522563803</c:v>
                </c:pt>
                <c:pt idx="96">
                  <c:v>5.8208594800573392</c:v>
                </c:pt>
                <c:pt idx="97">
                  <c:v>5.882040313695895</c:v>
                </c:pt>
                <c:pt idx="98">
                  <c:v>5.8866089866845988</c:v>
                </c:pt>
                <c:pt idx="99">
                  <c:v>5.9348709086460607</c:v>
                </c:pt>
                <c:pt idx="100">
                  <c:v>5.9939104322144452</c:v>
                </c:pt>
                <c:pt idx="101">
                  <c:v>6.0410397758071834</c:v>
                </c:pt>
                <c:pt idx="102">
                  <c:v>6.1077466644753375</c:v>
                </c:pt>
                <c:pt idx="103">
                  <c:v>6.1389894075420797</c:v>
                </c:pt>
                <c:pt idx="104">
                  <c:v>6.189044395058402</c:v>
                </c:pt>
                <c:pt idx="105">
                  <c:v>6.2460313222567629</c:v>
                </c:pt>
                <c:pt idx="106">
                  <c:v>6.2832849646589679</c:v>
                </c:pt>
                <c:pt idx="107">
                  <c:v>6.343601910249304</c:v>
                </c:pt>
                <c:pt idx="108">
                  <c:v>6.3897830738500909</c:v>
                </c:pt>
                <c:pt idx="109">
                  <c:v>6.4333157400039394</c:v>
                </c:pt>
                <c:pt idx="110">
                  <c:v>6.4898855234998338</c:v>
                </c:pt>
                <c:pt idx="111">
                  <c:v>6.5252768650198414</c:v>
                </c:pt>
                <c:pt idx="112">
                  <c:v>6.5783693908818206</c:v>
                </c:pt>
                <c:pt idx="113">
                  <c:v>6.625684357578046</c:v>
                </c:pt>
                <c:pt idx="114">
                  <c:v>6.6748668578703958</c:v>
                </c:pt>
                <c:pt idx="115">
                  <c:v>6.7161166112537316</c:v>
                </c:pt>
                <c:pt idx="116">
                  <c:v>6.7779387035157068</c:v>
                </c:pt>
                <c:pt idx="117">
                  <c:v>6.81000308718661</c:v>
                </c:pt>
                <c:pt idx="118">
                  <c:v>6.8452061436449929</c:v>
                </c:pt>
                <c:pt idx="119">
                  <c:v>6.8927184712458356</c:v>
                </c:pt>
                <c:pt idx="120">
                  <c:v>6.9475719094110913</c:v>
                </c:pt>
                <c:pt idx="121">
                  <c:v>6.9753106813569028</c:v>
                </c:pt>
                <c:pt idx="122">
                  <c:v>7.0258572195222664</c:v>
                </c:pt>
                <c:pt idx="123">
                  <c:v>7.0528125339080248</c:v>
                </c:pt>
                <c:pt idx="124">
                  <c:v>7.1020143385551444</c:v>
                </c:pt>
                <c:pt idx="125">
                  <c:v>7.144974204901378</c:v>
                </c:pt>
                <c:pt idx="126">
                  <c:v>7.1941309518160823</c:v>
                </c:pt>
                <c:pt idx="127">
                  <c:v>7.2475023444655893</c:v>
                </c:pt>
                <c:pt idx="128">
                  <c:v>7.2946283008935664</c:v>
                </c:pt>
                <c:pt idx="129">
                  <c:v>7.3300280361059063</c:v>
                </c:pt>
                <c:pt idx="130">
                  <c:v>7.3495317743804636</c:v>
                </c:pt>
                <c:pt idx="131">
                  <c:v>7.4004936939101418</c:v>
                </c:pt>
                <c:pt idx="132">
                  <c:v>7.4237528776608395</c:v>
                </c:pt>
                <c:pt idx="133">
                  <c:v>7.473290200451661</c:v>
                </c:pt>
                <c:pt idx="134">
                  <c:v>7.5081294888873833</c:v>
                </c:pt>
                <c:pt idx="135">
                  <c:v>7.5541205469432242</c:v>
                </c:pt>
                <c:pt idx="136">
                  <c:v>7.5830430847486188</c:v>
                </c:pt>
                <c:pt idx="137">
                  <c:v>7.6138712423330048</c:v>
                </c:pt>
                <c:pt idx="138">
                  <c:v>7.6721051959244768</c:v>
                </c:pt>
                <c:pt idx="139">
                  <c:v>7.6868429034585199</c:v>
                </c:pt>
                <c:pt idx="140">
                  <c:v>7.7149884584546129</c:v>
                </c:pt>
                <c:pt idx="141">
                  <c:v>7.7829699359195565</c:v>
                </c:pt>
                <c:pt idx="142">
                  <c:v>7.7969491276030833</c:v>
                </c:pt>
                <c:pt idx="143">
                  <c:v>7.8369549487003045</c:v>
                </c:pt>
                <c:pt idx="144">
                  <c:v>7.876257477359113</c:v>
                </c:pt>
                <c:pt idx="145">
                  <c:v>7.9160433598493816</c:v>
                </c:pt>
                <c:pt idx="146">
                  <c:v>7.9464133089192499</c:v>
                </c:pt>
                <c:pt idx="147">
                  <c:v>7.9813167228201944</c:v>
                </c:pt>
                <c:pt idx="148">
                  <c:v>8.0011426593572121</c:v>
                </c:pt>
                <c:pt idx="149">
                  <c:v>8.0627421739962184</c:v>
                </c:pt>
                <c:pt idx="150">
                  <c:v>8.0519644289181365</c:v>
                </c:pt>
                <c:pt idx="151">
                  <c:v>8.0821932870689928</c:v>
                </c:pt>
                <c:pt idx="152">
                  <c:v>8.112460190343425</c:v>
                </c:pt>
                <c:pt idx="153">
                  <c:v>8.135536854819625</c:v>
                </c:pt>
                <c:pt idx="154">
                  <c:v>8.1523729773382225</c:v>
                </c:pt>
                <c:pt idx="155">
                  <c:v>8.1934069340883688</c:v>
                </c:pt>
                <c:pt idx="156">
                  <c:v>8.2206947526943921</c:v>
                </c:pt>
                <c:pt idx="157">
                  <c:v>8.249766018275535</c:v>
                </c:pt>
                <c:pt idx="158">
                  <c:v>8.2861162251129592</c:v>
                </c:pt>
                <c:pt idx="159">
                  <c:v>8.3290773736817787</c:v>
                </c:pt>
                <c:pt idx="160">
                  <c:v>8.356460058278369</c:v>
                </c:pt>
                <c:pt idx="161">
                  <c:v>8.3918727969012519</c:v>
                </c:pt>
                <c:pt idx="162">
                  <c:v>8.408210386911616</c:v>
                </c:pt>
                <c:pt idx="163">
                  <c:v>8.4578241606932103</c:v>
                </c:pt>
                <c:pt idx="164">
                  <c:v>8.4919736844300839</c:v>
                </c:pt>
                <c:pt idx="165">
                  <c:v>8.51058845823899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7E-4BEE-B714-EF38808B7767}"/>
            </c:ext>
          </c:extLst>
        </c:ser>
        <c:ser>
          <c:idx val="4"/>
          <c:order val="4"/>
          <c:tx>
            <c:strRef>
              <c:f>Temperaturmessung!$G$1</c:f>
              <c:strCache>
                <c:ptCount val="1"/>
                <c:pt idx="0">
                  <c:v>Zellmitte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Temperaturmessung!$I:$I</c:f>
              <c:numCache>
                <c:formatCode>General</c:formatCode>
                <c:ptCount val="1048575"/>
                <c:pt idx="0">
                  <c:v>99</c:v>
                </c:pt>
                <c:pt idx="1">
                  <c:v>199</c:v>
                </c:pt>
                <c:pt idx="2">
                  <c:v>299</c:v>
                </c:pt>
                <c:pt idx="3">
                  <c:v>399</c:v>
                </c:pt>
                <c:pt idx="4">
                  <c:v>499</c:v>
                </c:pt>
                <c:pt idx="5">
                  <c:v>599</c:v>
                </c:pt>
                <c:pt idx="6">
                  <c:v>699</c:v>
                </c:pt>
                <c:pt idx="7">
                  <c:v>799</c:v>
                </c:pt>
                <c:pt idx="8">
                  <c:v>899</c:v>
                </c:pt>
                <c:pt idx="9">
                  <c:v>999</c:v>
                </c:pt>
                <c:pt idx="10">
                  <c:v>1099</c:v>
                </c:pt>
                <c:pt idx="11">
                  <c:v>1199</c:v>
                </c:pt>
                <c:pt idx="12">
                  <c:v>1299</c:v>
                </c:pt>
                <c:pt idx="13">
                  <c:v>1399</c:v>
                </c:pt>
                <c:pt idx="14">
                  <c:v>1499</c:v>
                </c:pt>
                <c:pt idx="15">
                  <c:v>1599</c:v>
                </c:pt>
                <c:pt idx="16">
                  <c:v>1699</c:v>
                </c:pt>
                <c:pt idx="17">
                  <c:v>1799</c:v>
                </c:pt>
                <c:pt idx="18">
                  <c:v>1899</c:v>
                </c:pt>
                <c:pt idx="19">
                  <c:v>1999</c:v>
                </c:pt>
                <c:pt idx="20">
                  <c:v>2099</c:v>
                </c:pt>
                <c:pt idx="21">
                  <c:v>2199</c:v>
                </c:pt>
                <c:pt idx="22">
                  <c:v>2299</c:v>
                </c:pt>
                <c:pt idx="23">
                  <c:v>2399</c:v>
                </c:pt>
                <c:pt idx="24">
                  <c:v>2499</c:v>
                </c:pt>
                <c:pt idx="25">
                  <c:v>2599</c:v>
                </c:pt>
                <c:pt idx="26">
                  <c:v>2699</c:v>
                </c:pt>
                <c:pt idx="27">
                  <c:v>2799</c:v>
                </c:pt>
                <c:pt idx="28">
                  <c:v>2899</c:v>
                </c:pt>
                <c:pt idx="29">
                  <c:v>2999</c:v>
                </c:pt>
                <c:pt idx="30">
                  <c:v>3099</c:v>
                </c:pt>
                <c:pt idx="31">
                  <c:v>3199</c:v>
                </c:pt>
                <c:pt idx="32">
                  <c:v>3299</c:v>
                </c:pt>
                <c:pt idx="33">
                  <c:v>3399</c:v>
                </c:pt>
                <c:pt idx="34">
                  <c:v>3499</c:v>
                </c:pt>
                <c:pt idx="35">
                  <c:v>3599</c:v>
                </c:pt>
                <c:pt idx="36">
                  <c:v>3699</c:v>
                </c:pt>
                <c:pt idx="37">
                  <c:v>3799</c:v>
                </c:pt>
                <c:pt idx="38">
                  <c:v>3899</c:v>
                </c:pt>
                <c:pt idx="39">
                  <c:v>3999</c:v>
                </c:pt>
                <c:pt idx="40">
                  <c:v>4099</c:v>
                </c:pt>
                <c:pt idx="41">
                  <c:v>4199</c:v>
                </c:pt>
                <c:pt idx="42">
                  <c:v>4299</c:v>
                </c:pt>
                <c:pt idx="43">
                  <c:v>4399</c:v>
                </c:pt>
                <c:pt idx="44">
                  <c:v>4499</c:v>
                </c:pt>
                <c:pt idx="45">
                  <c:v>4599</c:v>
                </c:pt>
                <c:pt idx="46">
                  <c:v>4699</c:v>
                </c:pt>
                <c:pt idx="47">
                  <c:v>4799</c:v>
                </c:pt>
                <c:pt idx="48">
                  <c:v>4899</c:v>
                </c:pt>
                <c:pt idx="49">
                  <c:v>4918</c:v>
                </c:pt>
                <c:pt idx="50">
                  <c:v>5018</c:v>
                </c:pt>
                <c:pt idx="51">
                  <c:v>5118</c:v>
                </c:pt>
                <c:pt idx="52">
                  <c:v>5218</c:v>
                </c:pt>
                <c:pt idx="53">
                  <c:v>5318</c:v>
                </c:pt>
                <c:pt idx="54">
                  <c:v>5418</c:v>
                </c:pt>
                <c:pt idx="55">
                  <c:v>5518</c:v>
                </c:pt>
                <c:pt idx="56">
                  <c:v>5618</c:v>
                </c:pt>
                <c:pt idx="57">
                  <c:v>5718</c:v>
                </c:pt>
                <c:pt idx="58">
                  <c:v>5818</c:v>
                </c:pt>
                <c:pt idx="59">
                  <c:v>5918</c:v>
                </c:pt>
                <c:pt idx="60">
                  <c:v>6018</c:v>
                </c:pt>
                <c:pt idx="61">
                  <c:v>6118</c:v>
                </c:pt>
                <c:pt idx="62">
                  <c:v>6218</c:v>
                </c:pt>
                <c:pt idx="63">
                  <c:v>6318</c:v>
                </c:pt>
                <c:pt idx="64">
                  <c:v>6418</c:v>
                </c:pt>
                <c:pt idx="65">
                  <c:v>6518</c:v>
                </c:pt>
                <c:pt idx="66">
                  <c:v>6618</c:v>
                </c:pt>
                <c:pt idx="67">
                  <c:v>6718</c:v>
                </c:pt>
                <c:pt idx="68">
                  <c:v>6818</c:v>
                </c:pt>
                <c:pt idx="69">
                  <c:v>6918</c:v>
                </c:pt>
                <c:pt idx="70">
                  <c:v>7018</c:v>
                </c:pt>
                <c:pt idx="71">
                  <c:v>7118</c:v>
                </c:pt>
                <c:pt idx="72">
                  <c:v>7218</c:v>
                </c:pt>
                <c:pt idx="73">
                  <c:v>7318</c:v>
                </c:pt>
                <c:pt idx="74">
                  <c:v>7418</c:v>
                </c:pt>
                <c:pt idx="75">
                  <c:v>7518</c:v>
                </c:pt>
                <c:pt idx="76">
                  <c:v>7618</c:v>
                </c:pt>
                <c:pt idx="77">
                  <c:v>7718</c:v>
                </c:pt>
                <c:pt idx="78">
                  <c:v>7818</c:v>
                </c:pt>
                <c:pt idx="79">
                  <c:v>7918</c:v>
                </c:pt>
                <c:pt idx="80">
                  <c:v>8018</c:v>
                </c:pt>
                <c:pt idx="81">
                  <c:v>8118</c:v>
                </c:pt>
                <c:pt idx="82">
                  <c:v>8218</c:v>
                </c:pt>
                <c:pt idx="83">
                  <c:v>8318</c:v>
                </c:pt>
                <c:pt idx="84">
                  <c:v>8418</c:v>
                </c:pt>
                <c:pt idx="85">
                  <c:v>8518</c:v>
                </c:pt>
                <c:pt idx="86">
                  <c:v>8618</c:v>
                </c:pt>
                <c:pt idx="87">
                  <c:v>8718</c:v>
                </c:pt>
                <c:pt idx="88">
                  <c:v>8818</c:v>
                </c:pt>
                <c:pt idx="89">
                  <c:v>8918</c:v>
                </c:pt>
                <c:pt idx="90">
                  <c:v>9018</c:v>
                </c:pt>
                <c:pt idx="91">
                  <c:v>9118</c:v>
                </c:pt>
                <c:pt idx="92">
                  <c:v>9218</c:v>
                </c:pt>
                <c:pt idx="93">
                  <c:v>9318</c:v>
                </c:pt>
                <c:pt idx="94">
                  <c:v>9418</c:v>
                </c:pt>
                <c:pt idx="95">
                  <c:v>9518</c:v>
                </c:pt>
                <c:pt idx="96">
                  <c:v>9618</c:v>
                </c:pt>
                <c:pt idx="97">
                  <c:v>9718</c:v>
                </c:pt>
                <c:pt idx="98">
                  <c:v>9818</c:v>
                </c:pt>
                <c:pt idx="99">
                  <c:v>9837</c:v>
                </c:pt>
                <c:pt idx="100">
                  <c:v>9937</c:v>
                </c:pt>
                <c:pt idx="101">
                  <c:v>10037</c:v>
                </c:pt>
                <c:pt idx="102">
                  <c:v>10137</c:v>
                </c:pt>
                <c:pt idx="103">
                  <c:v>10237</c:v>
                </c:pt>
                <c:pt idx="104">
                  <c:v>10337</c:v>
                </c:pt>
                <c:pt idx="105">
                  <c:v>10437</c:v>
                </c:pt>
                <c:pt idx="106">
                  <c:v>10537</c:v>
                </c:pt>
                <c:pt idx="107">
                  <c:v>10637</c:v>
                </c:pt>
                <c:pt idx="108">
                  <c:v>10737</c:v>
                </c:pt>
                <c:pt idx="109">
                  <c:v>10837</c:v>
                </c:pt>
                <c:pt idx="110">
                  <c:v>10937</c:v>
                </c:pt>
                <c:pt idx="111">
                  <c:v>11037</c:v>
                </c:pt>
                <c:pt idx="112">
                  <c:v>11137</c:v>
                </c:pt>
                <c:pt idx="113">
                  <c:v>11237</c:v>
                </c:pt>
                <c:pt idx="114">
                  <c:v>11337</c:v>
                </c:pt>
                <c:pt idx="115">
                  <c:v>11437</c:v>
                </c:pt>
                <c:pt idx="116">
                  <c:v>11537</c:v>
                </c:pt>
                <c:pt idx="117">
                  <c:v>11637</c:v>
                </c:pt>
                <c:pt idx="118">
                  <c:v>11737</c:v>
                </c:pt>
                <c:pt idx="119">
                  <c:v>11837</c:v>
                </c:pt>
                <c:pt idx="120">
                  <c:v>11937</c:v>
                </c:pt>
                <c:pt idx="121">
                  <c:v>12037</c:v>
                </c:pt>
                <c:pt idx="122">
                  <c:v>12137</c:v>
                </c:pt>
                <c:pt idx="123">
                  <c:v>12237</c:v>
                </c:pt>
                <c:pt idx="124">
                  <c:v>12337</c:v>
                </c:pt>
                <c:pt idx="125">
                  <c:v>12437</c:v>
                </c:pt>
                <c:pt idx="126">
                  <c:v>12537</c:v>
                </c:pt>
                <c:pt idx="127">
                  <c:v>12637</c:v>
                </c:pt>
                <c:pt idx="128">
                  <c:v>12737</c:v>
                </c:pt>
                <c:pt idx="129">
                  <c:v>12837</c:v>
                </c:pt>
                <c:pt idx="130">
                  <c:v>12937</c:v>
                </c:pt>
                <c:pt idx="131">
                  <c:v>13037</c:v>
                </c:pt>
                <c:pt idx="132">
                  <c:v>13137</c:v>
                </c:pt>
                <c:pt idx="133">
                  <c:v>13237</c:v>
                </c:pt>
                <c:pt idx="134">
                  <c:v>13337</c:v>
                </c:pt>
                <c:pt idx="135">
                  <c:v>13437</c:v>
                </c:pt>
                <c:pt idx="136">
                  <c:v>13537</c:v>
                </c:pt>
                <c:pt idx="137">
                  <c:v>13637</c:v>
                </c:pt>
                <c:pt idx="138">
                  <c:v>13737</c:v>
                </c:pt>
                <c:pt idx="139">
                  <c:v>13837</c:v>
                </c:pt>
                <c:pt idx="140">
                  <c:v>13937</c:v>
                </c:pt>
                <c:pt idx="141">
                  <c:v>14037</c:v>
                </c:pt>
                <c:pt idx="142">
                  <c:v>14137</c:v>
                </c:pt>
                <c:pt idx="143">
                  <c:v>14237</c:v>
                </c:pt>
                <c:pt idx="144">
                  <c:v>14337</c:v>
                </c:pt>
                <c:pt idx="145">
                  <c:v>14437</c:v>
                </c:pt>
                <c:pt idx="146">
                  <c:v>14537</c:v>
                </c:pt>
                <c:pt idx="147">
                  <c:v>14637</c:v>
                </c:pt>
                <c:pt idx="148">
                  <c:v>14737</c:v>
                </c:pt>
                <c:pt idx="149">
                  <c:v>14756</c:v>
                </c:pt>
                <c:pt idx="150">
                  <c:v>14856</c:v>
                </c:pt>
                <c:pt idx="151">
                  <c:v>14956</c:v>
                </c:pt>
                <c:pt idx="152">
                  <c:v>15056</c:v>
                </c:pt>
                <c:pt idx="153">
                  <c:v>15156</c:v>
                </c:pt>
                <c:pt idx="154">
                  <c:v>15256</c:v>
                </c:pt>
                <c:pt idx="155">
                  <c:v>15356</c:v>
                </c:pt>
                <c:pt idx="156">
                  <c:v>15456</c:v>
                </c:pt>
                <c:pt idx="157">
                  <c:v>15556</c:v>
                </c:pt>
                <c:pt idx="158">
                  <c:v>15656</c:v>
                </c:pt>
                <c:pt idx="159">
                  <c:v>15756</c:v>
                </c:pt>
                <c:pt idx="160">
                  <c:v>15856</c:v>
                </c:pt>
                <c:pt idx="161">
                  <c:v>15956</c:v>
                </c:pt>
                <c:pt idx="162">
                  <c:v>16056</c:v>
                </c:pt>
                <c:pt idx="163">
                  <c:v>16156</c:v>
                </c:pt>
                <c:pt idx="164">
                  <c:v>16256</c:v>
                </c:pt>
                <c:pt idx="165">
                  <c:v>16356</c:v>
                </c:pt>
                <c:pt idx="166">
                  <c:v>16456</c:v>
                </c:pt>
              </c:numCache>
            </c:numRef>
          </c:cat>
          <c:val>
            <c:numRef>
              <c:f>Temperaturmessung!$G$2:$G$198</c:f>
              <c:numCache>
                <c:formatCode>General</c:formatCode>
                <c:ptCount val="196"/>
                <c:pt idx="0">
                  <c:v>-17.012718361238981</c:v>
                </c:pt>
                <c:pt idx="1">
                  <c:v>-17.019644630504533</c:v>
                </c:pt>
                <c:pt idx="2">
                  <c:v>-17.00736841174686</c:v>
                </c:pt>
                <c:pt idx="3">
                  <c:v>-16.995226486612601</c:v>
                </c:pt>
                <c:pt idx="4">
                  <c:v>-16.996886975698558</c:v>
                </c:pt>
                <c:pt idx="5">
                  <c:v>-16.999049297893421</c:v>
                </c:pt>
                <c:pt idx="6">
                  <c:v>-16.899569244202088</c:v>
                </c:pt>
                <c:pt idx="7">
                  <c:v>-16.730385136731147</c:v>
                </c:pt>
                <c:pt idx="8">
                  <c:v>-16.55075078423436</c:v>
                </c:pt>
                <c:pt idx="9">
                  <c:v>-16.389580252144885</c:v>
                </c:pt>
                <c:pt idx="10">
                  <c:v>-16.193666266577683</c:v>
                </c:pt>
                <c:pt idx="11">
                  <c:v>-16.080721300188472</c:v>
                </c:pt>
                <c:pt idx="12">
                  <c:v>-15.970657232101884</c:v>
                </c:pt>
                <c:pt idx="13">
                  <c:v>-15.812116877472109</c:v>
                </c:pt>
                <c:pt idx="14">
                  <c:v>-15.698285174996558</c:v>
                </c:pt>
                <c:pt idx="15">
                  <c:v>-15.573257818818142</c:v>
                </c:pt>
                <c:pt idx="16">
                  <c:v>-15.433897656407581</c:v>
                </c:pt>
                <c:pt idx="17">
                  <c:v>-15.302273482917389</c:v>
                </c:pt>
                <c:pt idx="18">
                  <c:v>-15.182839193619014</c:v>
                </c:pt>
                <c:pt idx="19">
                  <c:v>-15.031105635782358</c:v>
                </c:pt>
                <c:pt idx="20">
                  <c:v>-14.917653685643391</c:v>
                </c:pt>
                <c:pt idx="21">
                  <c:v>-14.773534382561229</c:v>
                </c:pt>
                <c:pt idx="22">
                  <c:v>-14.668292990529878</c:v>
                </c:pt>
                <c:pt idx="23">
                  <c:v>-14.537931258149943</c:v>
                </c:pt>
                <c:pt idx="24">
                  <c:v>-14.441475555112932</c:v>
                </c:pt>
                <c:pt idx="25">
                  <c:v>-14.294216444907025</c:v>
                </c:pt>
                <c:pt idx="26">
                  <c:v>-14.182186750885766</c:v>
                </c:pt>
                <c:pt idx="27">
                  <c:v>-14.085957602302003</c:v>
                </c:pt>
                <c:pt idx="28">
                  <c:v>-13.940988556166484</c:v>
                </c:pt>
                <c:pt idx="29">
                  <c:v>-13.834145943591777</c:v>
                </c:pt>
                <c:pt idx="30">
                  <c:v>-13.7160164842872</c:v>
                </c:pt>
                <c:pt idx="31">
                  <c:v>-13.604128522109294</c:v>
                </c:pt>
                <c:pt idx="32">
                  <c:v>-13.498136127659759</c:v>
                </c:pt>
                <c:pt idx="33">
                  <c:v>-13.393839610054753</c:v>
                </c:pt>
                <c:pt idx="34">
                  <c:v>-13.272420428642315</c:v>
                </c:pt>
                <c:pt idx="35">
                  <c:v>-13.168776375212971</c:v>
                </c:pt>
                <c:pt idx="36">
                  <c:v>-13.056585209578634</c:v>
                </c:pt>
                <c:pt idx="37">
                  <c:v>-12.949452471470044</c:v>
                </c:pt>
                <c:pt idx="38">
                  <c:v>-12.849306063256583</c:v>
                </c:pt>
                <c:pt idx="39">
                  <c:v>-12.742982168839651</c:v>
                </c:pt>
                <c:pt idx="40">
                  <c:v>-12.648305469148044</c:v>
                </c:pt>
                <c:pt idx="41">
                  <c:v>-12.561374260969224</c:v>
                </c:pt>
                <c:pt idx="42">
                  <c:v>-12.45290573311596</c:v>
                </c:pt>
                <c:pt idx="43">
                  <c:v>-12.348945837251829</c:v>
                </c:pt>
                <c:pt idx="44">
                  <c:v>-12.253762463529496</c:v>
                </c:pt>
                <c:pt idx="45">
                  <c:v>-12.15048988937119</c:v>
                </c:pt>
                <c:pt idx="46">
                  <c:v>-12.045284610196365</c:v>
                </c:pt>
                <c:pt idx="47">
                  <c:v>-11.964218793343468</c:v>
                </c:pt>
                <c:pt idx="48">
                  <c:v>-11.928823563563334</c:v>
                </c:pt>
                <c:pt idx="49">
                  <c:v>-11.84659646962467</c:v>
                </c:pt>
                <c:pt idx="50">
                  <c:v>-11.752479183503576</c:v>
                </c:pt>
                <c:pt idx="51">
                  <c:v>-11.65509002170257</c:v>
                </c:pt>
                <c:pt idx="52">
                  <c:v>-11.563999711263506</c:v>
                </c:pt>
                <c:pt idx="53">
                  <c:v>-11.467843658816015</c:v>
                </c:pt>
                <c:pt idx="54">
                  <c:v>-11.369300486502706</c:v>
                </c:pt>
                <c:pt idx="55">
                  <c:v>-11.280094244042186</c:v>
                </c:pt>
                <c:pt idx="56">
                  <c:v>-11.189682221408761</c:v>
                </c:pt>
                <c:pt idx="57">
                  <c:v>-11.095544228527503</c:v>
                </c:pt>
                <c:pt idx="58">
                  <c:v>-11.020553110058842</c:v>
                </c:pt>
                <c:pt idx="59">
                  <c:v>-10.925040657752303</c:v>
                </c:pt>
                <c:pt idx="60">
                  <c:v>-10.850546945040824</c:v>
                </c:pt>
                <c:pt idx="61">
                  <c:v>-10.753646349646646</c:v>
                </c:pt>
                <c:pt idx="62">
                  <c:v>-10.67309347996993</c:v>
                </c:pt>
                <c:pt idx="63">
                  <c:v>-10.585590203952584</c:v>
                </c:pt>
                <c:pt idx="64">
                  <c:v>-10.500166388064963</c:v>
                </c:pt>
                <c:pt idx="65">
                  <c:v>-10.411950712599806</c:v>
                </c:pt>
                <c:pt idx="66">
                  <c:v>-10.343273521394197</c:v>
                </c:pt>
                <c:pt idx="67">
                  <c:v>-10.281726250037725</c:v>
                </c:pt>
                <c:pt idx="68">
                  <c:v>-10.182569778131837</c:v>
                </c:pt>
                <c:pt idx="69">
                  <c:v>-10.094959229543825</c:v>
                </c:pt>
                <c:pt idx="70">
                  <c:v>-10.016066841342933</c:v>
                </c:pt>
                <c:pt idx="71">
                  <c:v>-9.9365167225453082</c:v>
                </c:pt>
                <c:pt idx="72">
                  <c:v>-9.8662109507308635</c:v>
                </c:pt>
                <c:pt idx="73">
                  <c:v>-9.8055818067651899</c:v>
                </c:pt>
                <c:pt idx="74">
                  <c:v>-9.7329863770474034</c:v>
                </c:pt>
                <c:pt idx="75">
                  <c:v>-9.661878663337836</c:v>
                </c:pt>
                <c:pt idx="76">
                  <c:v>-9.581012404065822</c:v>
                </c:pt>
                <c:pt idx="77">
                  <c:v>-9.5216418452652913</c:v>
                </c:pt>
                <c:pt idx="78">
                  <c:v>-9.4379353692298302</c:v>
                </c:pt>
                <c:pt idx="79">
                  <c:v>-9.3564421691873925</c:v>
                </c:pt>
                <c:pt idx="80">
                  <c:v>-9.2910658728112008</c:v>
                </c:pt>
                <c:pt idx="81">
                  <c:v>-9.2262360740540004</c:v>
                </c:pt>
                <c:pt idx="82">
                  <c:v>-9.1525345730685856</c:v>
                </c:pt>
                <c:pt idx="83">
                  <c:v>-9.0841173687637014</c:v>
                </c:pt>
                <c:pt idx="84">
                  <c:v>-9.0068857518507706</c:v>
                </c:pt>
                <c:pt idx="85">
                  <c:v>-8.9541604311437055</c:v>
                </c:pt>
                <c:pt idx="86">
                  <c:v>-8.8828109277506329</c:v>
                </c:pt>
                <c:pt idx="87">
                  <c:v>-8.8272756450156837</c:v>
                </c:pt>
                <c:pt idx="88">
                  <c:v>-8.7535648823903323</c:v>
                </c:pt>
                <c:pt idx="89">
                  <c:v>-8.6825236846454761</c:v>
                </c:pt>
                <c:pt idx="90">
                  <c:v>-8.6170475491755134</c:v>
                </c:pt>
                <c:pt idx="91">
                  <c:v>-8.5682818973256865</c:v>
                </c:pt>
                <c:pt idx="92">
                  <c:v>-8.4949865115480812</c:v>
                </c:pt>
                <c:pt idx="93">
                  <c:v>-8.4282861903803035</c:v>
                </c:pt>
                <c:pt idx="94">
                  <c:v>-8.3637356038262407</c:v>
                </c:pt>
                <c:pt idx="95">
                  <c:v>-8.2920184188711481</c:v>
                </c:pt>
                <c:pt idx="96">
                  <c:v>-8.2490945063790058</c:v>
                </c:pt>
                <c:pt idx="97">
                  <c:v>-8.1873912863879923</c:v>
                </c:pt>
                <c:pt idx="98">
                  <c:v>-8.1683580445121766</c:v>
                </c:pt>
                <c:pt idx="99">
                  <c:v>-8.1117583574449537</c:v>
                </c:pt>
                <c:pt idx="100">
                  <c:v>-8.0388662603252747</c:v>
                </c:pt>
                <c:pt idx="101">
                  <c:v>-7.9843941982177515</c:v>
                </c:pt>
                <c:pt idx="102">
                  <c:v>-7.9323635332578259</c:v>
                </c:pt>
                <c:pt idx="103">
                  <c:v>-7.8850762126164051</c:v>
                </c:pt>
                <c:pt idx="104">
                  <c:v>-7.8312088911649012</c:v>
                </c:pt>
                <c:pt idx="105">
                  <c:v>-7.7685777988397646</c:v>
                </c:pt>
                <c:pt idx="106">
                  <c:v>-7.7192152634346369</c:v>
                </c:pt>
                <c:pt idx="107">
                  <c:v>-7.6548607081070301</c:v>
                </c:pt>
                <c:pt idx="108">
                  <c:v>-7.6052153703713561</c:v>
                </c:pt>
                <c:pt idx="109">
                  <c:v>-7.5515922352052876</c:v>
                </c:pt>
                <c:pt idx="110">
                  <c:v>-7.4949111741762389</c:v>
                </c:pt>
                <c:pt idx="111">
                  <c:v>-7.4345731037078755</c:v>
                </c:pt>
                <c:pt idx="112">
                  <c:v>-7.3862373675404598</c:v>
                </c:pt>
                <c:pt idx="113">
                  <c:v>-7.3356922076677549</c:v>
                </c:pt>
                <c:pt idx="114">
                  <c:v>-7.269626149839211</c:v>
                </c:pt>
                <c:pt idx="115">
                  <c:v>-7.227442235423255</c:v>
                </c:pt>
                <c:pt idx="116">
                  <c:v>-7.1833303770447401</c:v>
                </c:pt>
                <c:pt idx="117">
                  <c:v>-7.1323950235524034</c:v>
                </c:pt>
                <c:pt idx="118">
                  <c:v>-7.0808817345530102</c:v>
                </c:pt>
                <c:pt idx="119">
                  <c:v>-7.0444845884259912</c:v>
                </c:pt>
                <c:pt idx="120">
                  <c:v>-6.9860218643689809</c:v>
                </c:pt>
                <c:pt idx="121">
                  <c:v>-6.9378538542048558</c:v>
                </c:pt>
                <c:pt idx="122">
                  <c:v>-6.885474018639723</c:v>
                </c:pt>
                <c:pt idx="123">
                  <c:v>-6.8471844173872514</c:v>
                </c:pt>
                <c:pt idx="124">
                  <c:v>-6.804777804959623</c:v>
                </c:pt>
                <c:pt idx="125">
                  <c:v>-6.7451279653676286</c:v>
                </c:pt>
                <c:pt idx="126">
                  <c:v>-6.6922756059887583</c:v>
                </c:pt>
                <c:pt idx="127">
                  <c:v>-6.6456192308891433</c:v>
                </c:pt>
                <c:pt idx="128">
                  <c:v>-6.5900787574724466</c:v>
                </c:pt>
                <c:pt idx="129">
                  <c:v>-6.5543933665957557</c:v>
                </c:pt>
                <c:pt idx="130">
                  <c:v>-6.5208743387284365</c:v>
                </c:pt>
                <c:pt idx="131">
                  <c:v>-6.4764530264287874</c:v>
                </c:pt>
                <c:pt idx="132">
                  <c:v>-6.4309946220904992</c:v>
                </c:pt>
                <c:pt idx="133">
                  <c:v>-6.3944730816759785</c:v>
                </c:pt>
                <c:pt idx="134">
                  <c:v>-6.3484028692175567</c:v>
                </c:pt>
                <c:pt idx="135">
                  <c:v>-6.2983404425019289</c:v>
                </c:pt>
                <c:pt idx="136">
                  <c:v>-6.2666630627577362</c:v>
                </c:pt>
                <c:pt idx="137">
                  <c:v>-6.2237446774517506</c:v>
                </c:pt>
                <c:pt idx="138">
                  <c:v>-6.1824085099213884</c:v>
                </c:pt>
                <c:pt idx="139">
                  <c:v>-6.146864640276223</c:v>
                </c:pt>
                <c:pt idx="140">
                  <c:v>-6.1190868306163244</c:v>
                </c:pt>
                <c:pt idx="141">
                  <c:v>-6.0568455189569477</c:v>
                </c:pt>
                <c:pt idx="142">
                  <c:v>-6.0239903853411523</c:v>
                </c:pt>
                <c:pt idx="143">
                  <c:v>-5.9872116363598096</c:v>
                </c:pt>
                <c:pt idx="144">
                  <c:v>-5.9361428441892139</c:v>
                </c:pt>
                <c:pt idx="145">
                  <c:v>-5.8938763380441461</c:v>
                </c:pt>
                <c:pt idx="146">
                  <c:v>-5.8621730898425763</c:v>
                </c:pt>
                <c:pt idx="147">
                  <c:v>-5.8198912564157341</c:v>
                </c:pt>
                <c:pt idx="148">
                  <c:v>-5.8065711707329504</c:v>
                </c:pt>
                <c:pt idx="149">
                  <c:v>-5.7687346700623525</c:v>
                </c:pt>
                <c:pt idx="150">
                  <c:v>-5.7647254659087928</c:v>
                </c:pt>
                <c:pt idx="151">
                  <c:v>-5.731744020533772</c:v>
                </c:pt>
                <c:pt idx="152">
                  <c:v>-5.7011069886083821</c:v>
                </c:pt>
                <c:pt idx="153">
                  <c:v>-5.6544701922137826</c:v>
                </c:pt>
                <c:pt idx="154">
                  <c:v>-5.6396789468807551</c:v>
                </c:pt>
                <c:pt idx="155">
                  <c:v>-5.5940182147825688</c:v>
                </c:pt>
                <c:pt idx="156">
                  <c:v>-5.5647602475102982</c:v>
                </c:pt>
                <c:pt idx="157">
                  <c:v>-5.533923108993033</c:v>
                </c:pt>
                <c:pt idx="158">
                  <c:v>-5.5097094164566576</c:v>
                </c:pt>
                <c:pt idx="159">
                  <c:v>-5.4592376048029356</c:v>
                </c:pt>
                <c:pt idx="160">
                  <c:v>-5.4013303686720286</c:v>
                </c:pt>
                <c:pt idx="161">
                  <c:v>-5.382599171625813</c:v>
                </c:pt>
                <c:pt idx="162">
                  <c:v>-5.3635634734795641</c:v>
                </c:pt>
                <c:pt idx="163">
                  <c:v>-5.3098926699077582</c:v>
                </c:pt>
                <c:pt idx="164">
                  <c:v>-5.273179182647783</c:v>
                </c:pt>
                <c:pt idx="165">
                  <c:v>-5.25943941279952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7E-4BEE-B714-EF38808B7767}"/>
            </c:ext>
          </c:extLst>
        </c:ser>
        <c:ser>
          <c:idx val="5"/>
          <c:order val="5"/>
          <c:tx>
            <c:strRef>
              <c:f>Temperaturmessung!$H$1</c:f>
              <c:strCache>
                <c:ptCount val="1"/>
                <c:pt idx="0">
                  <c:v>Elektronik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Temperaturmessung!$I:$I</c:f>
              <c:numCache>
                <c:formatCode>General</c:formatCode>
                <c:ptCount val="1048575"/>
                <c:pt idx="0">
                  <c:v>99</c:v>
                </c:pt>
                <c:pt idx="1">
                  <c:v>199</c:v>
                </c:pt>
                <c:pt idx="2">
                  <c:v>299</c:v>
                </c:pt>
                <c:pt idx="3">
                  <c:v>399</c:v>
                </c:pt>
                <c:pt idx="4">
                  <c:v>499</c:v>
                </c:pt>
                <c:pt idx="5">
                  <c:v>599</c:v>
                </c:pt>
                <c:pt idx="6">
                  <c:v>699</c:v>
                </c:pt>
                <c:pt idx="7">
                  <c:v>799</c:v>
                </c:pt>
                <c:pt idx="8">
                  <c:v>899</c:v>
                </c:pt>
                <c:pt idx="9">
                  <c:v>999</c:v>
                </c:pt>
                <c:pt idx="10">
                  <c:v>1099</c:v>
                </c:pt>
                <c:pt idx="11">
                  <c:v>1199</c:v>
                </c:pt>
                <c:pt idx="12">
                  <c:v>1299</c:v>
                </c:pt>
                <c:pt idx="13">
                  <c:v>1399</c:v>
                </c:pt>
                <c:pt idx="14">
                  <c:v>1499</c:v>
                </c:pt>
                <c:pt idx="15">
                  <c:v>1599</c:v>
                </c:pt>
                <c:pt idx="16">
                  <c:v>1699</c:v>
                </c:pt>
                <c:pt idx="17">
                  <c:v>1799</c:v>
                </c:pt>
                <c:pt idx="18">
                  <c:v>1899</c:v>
                </c:pt>
                <c:pt idx="19">
                  <c:v>1999</c:v>
                </c:pt>
                <c:pt idx="20">
                  <c:v>2099</c:v>
                </c:pt>
                <c:pt idx="21">
                  <c:v>2199</c:v>
                </c:pt>
                <c:pt idx="22">
                  <c:v>2299</c:v>
                </c:pt>
                <c:pt idx="23">
                  <c:v>2399</c:v>
                </c:pt>
                <c:pt idx="24">
                  <c:v>2499</c:v>
                </c:pt>
                <c:pt idx="25">
                  <c:v>2599</c:v>
                </c:pt>
                <c:pt idx="26">
                  <c:v>2699</c:v>
                </c:pt>
                <c:pt idx="27">
                  <c:v>2799</c:v>
                </c:pt>
                <c:pt idx="28">
                  <c:v>2899</c:v>
                </c:pt>
                <c:pt idx="29">
                  <c:v>2999</c:v>
                </c:pt>
                <c:pt idx="30">
                  <c:v>3099</c:v>
                </c:pt>
                <c:pt idx="31">
                  <c:v>3199</c:v>
                </c:pt>
                <c:pt idx="32">
                  <c:v>3299</c:v>
                </c:pt>
                <c:pt idx="33">
                  <c:v>3399</c:v>
                </c:pt>
                <c:pt idx="34">
                  <c:v>3499</c:v>
                </c:pt>
                <c:pt idx="35">
                  <c:v>3599</c:v>
                </c:pt>
                <c:pt idx="36">
                  <c:v>3699</c:v>
                </c:pt>
                <c:pt idx="37">
                  <c:v>3799</c:v>
                </c:pt>
                <c:pt idx="38">
                  <c:v>3899</c:v>
                </c:pt>
                <c:pt idx="39">
                  <c:v>3999</c:v>
                </c:pt>
                <c:pt idx="40">
                  <c:v>4099</c:v>
                </c:pt>
                <c:pt idx="41">
                  <c:v>4199</c:v>
                </c:pt>
                <c:pt idx="42">
                  <c:v>4299</c:v>
                </c:pt>
                <c:pt idx="43">
                  <c:v>4399</c:v>
                </c:pt>
                <c:pt idx="44">
                  <c:v>4499</c:v>
                </c:pt>
                <c:pt idx="45">
                  <c:v>4599</c:v>
                </c:pt>
                <c:pt idx="46">
                  <c:v>4699</c:v>
                </c:pt>
                <c:pt idx="47">
                  <c:v>4799</c:v>
                </c:pt>
                <c:pt idx="48">
                  <c:v>4899</c:v>
                </c:pt>
                <c:pt idx="49">
                  <c:v>4918</c:v>
                </c:pt>
                <c:pt idx="50">
                  <c:v>5018</c:v>
                </c:pt>
                <c:pt idx="51">
                  <c:v>5118</c:v>
                </c:pt>
                <c:pt idx="52">
                  <c:v>5218</c:v>
                </c:pt>
                <c:pt idx="53">
                  <c:v>5318</c:v>
                </c:pt>
                <c:pt idx="54">
                  <c:v>5418</c:v>
                </c:pt>
                <c:pt idx="55">
                  <c:v>5518</c:v>
                </c:pt>
                <c:pt idx="56">
                  <c:v>5618</c:v>
                </c:pt>
                <c:pt idx="57">
                  <c:v>5718</c:v>
                </c:pt>
                <c:pt idx="58">
                  <c:v>5818</c:v>
                </c:pt>
                <c:pt idx="59">
                  <c:v>5918</c:v>
                </c:pt>
                <c:pt idx="60">
                  <c:v>6018</c:v>
                </c:pt>
                <c:pt idx="61">
                  <c:v>6118</c:v>
                </c:pt>
                <c:pt idx="62">
                  <c:v>6218</c:v>
                </c:pt>
                <c:pt idx="63">
                  <c:v>6318</c:v>
                </c:pt>
                <c:pt idx="64">
                  <c:v>6418</c:v>
                </c:pt>
                <c:pt idx="65">
                  <c:v>6518</c:v>
                </c:pt>
                <c:pt idx="66">
                  <c:v>6618</c:v>
                </c:pt>
                <c:pt idx="67">
                  <c:v>6718</c:v>
                </c:pt>
                <c:pt idx="68">
                  <c:v>6818</c:v>
                </c:pt>
                <c:pt idx="69">
                  <c:v>6918</c:v>
                </c:pt>
                <c:pt idx="70">
                  <c:v>7018</c:v>
                </c:pt>
                <c:pt idx="71">
                  <c:v>7118</c:v>
                </c:pt>
                <c:pt idx="72">
                  <c:v>7218</c:v>
                </c:pt>
                <c:pt idx="73">
                  <c:v>7318</c:v>
                </c:pt>
                <c:pt idx="74">
                  <c:v>7418</c:v>
                </c:pt>
                <c:pt idx="75">
                  <c:v>7518</c:v>
                </c:pt>
                <c:pt idx="76">
                  <c:v>7618</c:v>
                </c:pt>
                <c:pt idx="77">
                  <c:v>7718</c:v>
                </c:pt>
                <c:pt idx="78">
                  <c:v>7818</c:v>
                </c:pt>
                <c:pt idx="79">
                  <c:v>7918</c:v>
                </c:pt>
                <c:pt idx="80">
                  <c:v>8018</c:v>
                </c:pt>
                <c:pt idx="81">
                  <c:v>8118</c:v>
                </c:pt>
                <c:pt idx="82">
                  <c:v>8218</c:v>
                </c:pt>
                <c:pt idx="83">
                  <c:v>8318</c:v>
                </c:pt>
                <c:pt idx="84">
                  <c:v>8418</c:v>
                </c:pt>
                <c:pt idx="85">
                  <c:v>8518</c:v>
                </c:pt>
                <c:pt idx="86">
                  <c:v>8618</c:v>
                </c:pt>
                <c:pt idx="87">
                  <c:v>8718</c:v>
                </c:pt>
                <c:pt idx="88">
                  <c:v>8818</c:v>
                </c:pt>
                <c:pt idx="89">
                  <c:v>8918</c:v>
                </c:pt>
                <c:pt idx="90">
                  <c:v>9018</c:v>
                </c:pt>
                <c:pt idx="91">
                  <c:v>9118</c:v>
                </c:pt>
                <c:pt idx="92">
                  <c:v>9218</c:v>
                </c:pt>
                <c:pt idx="93">
                  <c:v>9318</c:v>
                </c:pt>
                <c:pt idx="94">
                  <c:v>9418</c:v>
                </c:pt>
                <c:pt idx="95">
                  <c:v>9518</c:v>
                </c:pt>
                <c:pt idx="96">
                  <c:v>9618</c:v>
                </c:pt>
                <c:pt idx="97">
                  <c:v>9718</c:v>
                </c:pt>
                <c:pt idx="98">
                  <c:v>9818</c:v>
                </c:pt>
                <c:pt idx="99">
                  <c:v>9837</c:v>
                </c:pt>
                <c:pt idx="100">
                  <c:v>9937</c:v>
                </c:pt>
                <c:pt idx="101">
                  <c:v>10037</c:v>
                </c:pt>
                <c:pt idx="102">
                  <c:v>10137</c:v>
                </c:pt>
                <c:pt idx="103">
                  <c:v>10237</c:v>
                </c:pt>
                <c:pt idx="104">
                  <c:v>10337</c:v>
                </c:pt>
                <c:pt idx="105">
                  <c:v>10437</c:v>
                </c:pt>
                <c:pt idx="106">
                  <c:v>10537</c:v>
                </c:pt>
                <c:pt idx="107">
                  <c:v>10637</c:v>
                </c:pt>
                <c:pt idx="108">
                  <c:v>10737</c:v>
                </c:pt>
                <c:pt idx="109">
                  <c:v>10837</c:v>
                </c:pt>
                <c:pt idx="110">
                  <c:v>10937</c:v>
                </c:pt>
                <c:pt idx="111">
                  <c:v>11037</c:v>
                </c:pt>
                <c:pt idx="112">
                  <c:v>11137</c:v>
                </c:pt>
                <c:pt idx="113">
                  <c:v>11237</c:v>
                </c:pt>
                <c:pt idx="114">
                  <c:v>11337</c:v>
                </c:pt>
                <c:pt idx="115">
                  <c:v>11437</c:v>
                </c:pt>
                <c:pt idx="116">
                  <c:v>11537</c:v>
                </c:pt>
                <c:pt idx="117">
                  <c:v>11637</c:v>
                </c:pt>
                <c:pt idx="118">
                  <c:v>11737</c:v>
                </c:pt>
                <c:pt idx="119">
                  <c:v>11837</c:v>
                </c:pt>
                <c:pt idx="120">
                  <c:v>11937</c:v>
                </c:pt>
                <c:pt idx="121">
                  <c:v>12037</c:v>
                </c:pt>
                <c:pt idx="122">
                  <c:v>12137</c:v>
                </c:pt>
                <c:pt idx="123">
                  <c:v>12237</c:v>
                </c:pt>
                <c:pt idx="124">
                  <c:v>12337</c:v>
                </c:pt>
                <c:pt idx="125">
                  <c:v>12437</c:v>
                </c:pt>
                <c:pt idx="126">
                  <c:v>12537</c:v>
                </c:pt>
                <c:pt idx="127">
                  <c:v>12637</c:v>
                </c:pt>
                <c:pt idx="128">
                  <c:v>12737</c:v>
                </c:pt>
                <c:pt idx="129">
                  <c:v>12837</c:v>
                </c:pt>
                <c:pt idx="130">
                  <c:v>12937</c:v>
                </c:pt>
                <c:pt idx="131">
                  <c:v>13037</c:v>
                </c:pt>
                <c:pt idx="132">
                  <c:v>13137</c:v>
                </c:pt>
                <c:pt idx="133">
                  <c:v>13237</c:v>
                </c:pt>
                <c:pt idx="134">
                  <c:v>13337</c:v>
                </c:pt>
                <c:pt idx="135">
                  <c:v>13437</c:v>
                </c:pt>
                <c:pt idx="136">
                  <c:v>13537</c:v>
                </c:pt>
                <c:pt idx="137">
                  <c:v>13637</c:v>
                </c:pt>
                <c:pt idx="138">
                  <c:v>13737</c:v>
                </c:pt>
                <c:pt idx="139">
                  <c:v>13837</c:v>
                </c:pt>
                <c:pt idx="140">
                  <c:v>13937</c:v>
                </c:pt>
                <c:pt idx="141">
                  <c:v>14037</c:v>
                </c:pt>
                <c:pt idx="142">
                  <c:v>14137</c:v>
                </c:pt>
                <c:pt idx="143">
                  <c:v>14237</c:v>
                </c:pt>
                <c:pt idx="144">
                  <c:v>14337</c:v>
                </c:pt>
                <c:pt idx="145">
                  <c:v>14437</c:v>
                </c:pt>
                <c:pt idx="146">
                  <c:v>14537</c:v>
                </c:pt>
                <c:pt idx="147">
                  <c:v>14637</c:v>
                </c:pt>
                <c:pt idx="148">
                  <c:v>14737</c:v>
                </c:pt>
                <c:pt idx="149">
                  <c:v>14756</c:v>
                </c:pt>
                <c:pt idx="150">
                  <c:v>14856</c:v>
                </c:pt>
                <c:pt idx="151">
                  <c:v>14956</c:v>
                </c:pt>
                <c:pt idx="152">
                  <c:v>15056</c:v>
                </c:pt>
                <c:pt idx="153">
                  <c:v>15156</c:v>
                </c:pt>
                <c:pt idx="154">
                  <c:v>15256</c:v>
                </c:pt>
                <c:pt idx="155">
                  <c:v>15356</c:v>
                </c:pt>
                <c:pt idx="156">
                  <c:v>15456</c:v>
                </c:pt>
                <c:pt idx="157">
                  <c:v>15556</c:v>
                </c:pt>
                <c:pt idx="158">
                  <c:v>15656</c:v>
                </c:pt>
                <c:pt idx="159">
                  <c:v>15756</c:v>
                </c:pt>
                <c:pt idx="160">
                  <c:v>15856</c:v>
                </c:pt>
                <c:pt idx="161">
                  <c:v>15956</c:v>
                </c:pt>
                <c:pt idx="162">
                  <c:v>16056</c:v>
                </c:pt>
                <c:pt idx="163">
                  <c:v>16156</c:v>
                </c:pt>
                <c:pt idx="164">
                  <c:v>16256</c:v>
                </c:pt>
                <c:pt idx="165">
                  <c:v>16356</c:v>
                </c:pt>
                <c:pt idx="166">
                  <c:v>16456</c:v>
                </c:pt>
              </c:numCache>
            </c:numRef>
          </c:cat>
          <c:val>
            <c:numRef>
              <c:f>Temperaturmessung!$H$2:$H$198</c:f>
              <c:numCache>
                <c:formatCode>General</c:formatCode>
                <c:ptCount val="196"/>
                <c:pt idx="0">
                  <c:v>-18.262021285250803</c:v>
                </c:pt>
                <c:pt idx="1">
                  <c:v>-18.258999535270508</c:v>
                </c:pt>
                <c:pt idx="2">
                  <c:v>-18.257632874621642</c:v>
                </c:pt>
                <c:pt idx="3">
                  <c:v>-18.260530818670201</c:v>
                </c:pt>
                <c:pt idx="4">
                  <c:v>-18.261222707025389</c:v>
                </c:pt>
                <c:pt idx="5">
                  <c:v>-18.26703363779329</c:v>
                </c:pt>
                <c:pt idx="6">
                  <c:v>-18.281786540888266</c:v>
                </c:pt>
                <c:pt idx="7">
                  <c:v>-18.263832193740736</c:v>
                </c:pt>
                <c:pt idx="8">
                  <c:v>-18.23511478808387</c:v>
                </c:pt>
                <c:pt idx="9">
                  <c:v>-18.212232575887274</c:v>
                </c:pt>
                <c:pt idx="10">
                  <c:v>-18.163938359995832</c:v>
                </c:pt>
                <c:pt idx="11">
                  <c:v>-18.150970729219758</c:v>
                </c:pt>
                <c:pt idx="12">
                  <c:v>-18.121441884440653</c:v>
                </c:pt>
                <c:pt idx="13">
                  <c:v>-18.064385929073584</c:v>
                </c:pt>
                <c:pt idx="14">
                  <c:v>-18.044879602025372</c:v>
                </c:pt>
                <c:pt idx="15">
                  <c:v>-17.975502934610944</c:v>
                </c:pt>
                <c:pt idx="16">
                  <c:v>-17.897066252025223</c:v>
                </c:pt>
                <c:pt idx="17">
                  <c:v>-17.823947707377489</c:v>
                </c:pt>
                <c:pt idx="18">
                  <c:v>-17.76183515593647</c:v>
                </c:pt>
                <c:pt idx="19">
                  <c:v>-17.702962689263046</c:v>
                </c:pt>
                <c:pt idx="20">
                  <c:v>-17.603131013591444</c:v>
                </c:pt>
                <c:pt idx="21">
                  <c:v>-17.497983806947744</c:v>
                </c:pt>
                <c:pt idx="22">
                  <c:v>-17.429435513842993</c:v>
                </c:pt>
                <c:pt idx="23">
                  <c:v>-17.344386310780443</c:v>
                </c:pt>
                <c:pt idx="24">
                  <c:v>-17.25747066424735</c:v>
                </c:pt>
                <c:pt idx="25">
                  <c:v>-17.1583408296631</c:v>
                </c:pt>
                <c:pt idx="26">
                  <c:v>-17.070567326909014</c:v>
                </c:pt>
                <c:pt idx="27">
                  <c:v>-16.987986881406719</c:v>
                </c:pt>
                <c:pt idx="28">
                  <c:v>-16.892332582070001</c:v>
                </c:pt>
                <c:pt idx="29">
                  <c:v>-16.806109806265592</c:v>
                </c:pt>
                <c:pt idx="30">
                  <c:v>-16.709029015351682</c:v>
                </c:pt>
                <c:pt idx="31">
                  <c:v>-16.615545482683427</c:v>
                </c:pt>
                <c:pt idx="32">
                  <c:v>-16.533551989390801</c:v>
                </c:pt>
                <c:pt idx="33">
                  <c:v>-16.436053397770085</c:v>
                </c:pt>
                <c:pt idx="34">
                  <c:v>-16.338309788700922</c:v>
                </c:pt>
                <c:pt idx="35">
                  <c:v>-16.247273447591279</c:v>
                </c:pt>
                <c:pt idx="36">
                  <c:v>-16.155396992627225</c:v>
                </c:pt>
                <c:pt idx="37">
                  <c:v>-16.069564919113077</c:v>
                </c:pt>
                <c:pt idx="38">
                  <c:v>-15.994619607868078</c:v>
                </c:pt>
                <c:pt idx="39">
                  <c:v>-15.893125903290237</c:v>
                </c:pt>
                <c:pt idx="40">
                  <c:v>-15.813498642515405</c:v>
                </c:pt>
                <c:pt idx="41">
                  <c:v>-15.728095970414213</c:v>
                </c:pt>
                <c:pt idx="42">
                  <c:v>-15.647915460918998</c:v>
                </c:pt>
                <c:pt idx="43">
                  <c:v>-15.556771329490548</c:v>
                </c:pt>
                <c:pt idx="44">
                  <c:v>-15.467425776195677</c:v>
                </c:pt>
                <c:pt idx="45">
                  <c:v>-15.382045615023749</c:v>
                </c:pt>
                <c:pt idx="46">
                  <c:v>-15.311649283115596</c:v>
                </c:pt>
                <c:pt idx="47">
                  <c:v>-15.230432794880278</c:v>
                </c:pt>
                <c:pt idx="48">
                  <c:v>-15.209376277748799</c:v>
                </c:pt>
                <c:pt idx="49">
                  <c:v>-15.143917774161267</c:v>
                </c:pt>
                <c:pt idx="50">
                  <c:v>-15.052725060920222</c:v>
                </c:pt>
                <c:pt idx="51">
                  <c:v>-14.970089122084236</c:v>
                </c:pt>
                <c:pt idx="52">
                  <c:v>-14.890153078555823</c:v>
                </c:pt>
                <c:pt idx="53">
                  <c:v>-14.812857270400919</c:v>
                </c:pt>
                <c:pt idx="54">
                  <c:v>-14.734123858951124</c:v>
                </c:pt>
                <c:pt idx="55">
                  <c:v>-14.66138579273837</c:v>
                </c:pt>
                <c:pt idx="56">
                  <c:v>-14.579458249233356</c:v>
                </c:pt>
                <c:pt idx="57">
                  <c:v>-14.493541688490263</c:v>
                </c:pt>
                <c:pt idx="58">
                  <c:v>-14.424209483989337</c:v>
                </c:pt>
                <c:pt idx="59">
                  <c:v>-14.359127506606736</c:v>
                </c:pt>
                <c:pt idx="60">
                  <c:v>-14.274349893928381</c:v>
                </c:pt>
                <c:pt idx="61">
                  <c:v>-14.193131811854077</c:v>
                </c:pt>
                <c:pt idx="62">
                  <c:v>-14.12978998370496</c:v>
                </c:pt>
                <c:pt idx="63">
                  <c:v>-14.053180306012731</c:v>
                </c:pt>
                <c:pt idx="64">
                  <c:v>-13.996521446484589</c:v>
                </c:pt>
                <c:pt idx="65">
                  <c:v>-13.906876946222596</c:v>
                </c:pt>
                <c:pt idx="66">
                  <c:v>-13.850147645118396</c:v>
                </c:pt>
                <c:pt idx="67">
                  <c:v>-13.774519667796998</c:v>
                </c:pt>
                <c:pt idx="68">
                  <c:v>-13.71175952844621</c:v>
                </c:pt>
                <c:pt idx="69">
                  <c:v>-13.619580486916826</c:v>
                </c:pt>
                <c:pt idx="70">
                  <c:v>-13.558602285692103</c:v>
                </c:pt>
                <c:pt idx="71">
                  <c:v>-13.493822466574603</c:v>
                </c:pt>
                <c:pt idx="72">
                  <c:v>-13.443881017758967</c:v>
                </c:pt>
                <c:pt idx="73">
                  <c:v>-13.382440119017769</c:v>
                </c:pt>
                <c:pt idx="74">
                  <c:v>-13.314514228947553</c:v>
                </c:pt>
                <c:pt idx="75">
                  <c:v>-13.249770522330806</c:v>
                </c:pt>
                <c:pt idx="76">
                  <c:v>-13.198842276285266</c:v>
                </c:pt>
                <c:pt idx="77">
                  <c:v>-13.131187311499783</c:v>
                </c:pt>
                <c:pt idx="78">
                  <c:v>-13.058830841801097</c:v>
                </c:pt>
                <c:pt idx="79">
                  <c:v>-12.995445693616206</c:v>
                </c:pt>
                <c:pt idx="80">
                  <c:v>-12.957904556125133</c:v>
                </c:pt>
                <c:pt idx="81">
                  <c:v>-12.904518789847677</c:v>
                </c:pt>
                <c:pt idx="82">
                  <c:v>-12.827989640567827</c:v>
                </c:pt>
                <c:pt idx="83">
                  <c:v>-12.753641999361763</c:v>
                </c:pt>
                <c:pt idx="84">
                  <c:v>-12.682959034109219</c:v>
                </c:pt>
                <c:pt idx="85">
                  <c:v>-12.654748352754405</c:v>
                </c:pt>
                <c:pt idx="86">
                  <c:v>-12.590216022718845</c:v>
                </c:pt>
                <c:pt idx="87">
                  <c:v>-12.520389334506037</c:v>
                </c:pt>
                <c:pt idx="88">
                  <c:v>-12.470580847477457</c:v>
                </c:pt>
                <c:pt idx="89">
                  <c:v>-12.420802825651316</c:v>
                </c:pt>
                <c:pt idx="90">
                  <c:v>-12.345792537960635</c:v>
                </c:pt>
                <c:pt idx="91">
                  <c:v>-12.308300235646994</c:v>
                </c:pt>
                <c:pt idx="92">
                  <c:v>-12.239148979137774</c:v>
                </c:pt>
                <c:pt idx="93">
                  <c:v>-12.206965748606416</c:v>
                </c:pt>
                <c:pt idx="94">
                  <c:v>-12.139382188382887</c:v>
                </c:pt>
                <c:pt idx="95">
                  <c:v>-12.090827473407414</c:v>
                </c:pt>
                <c:pt idx="96">
                  <c:v>-12.039942559221966</c:v>
                </c:pt>
                <c:pt idx="97">
                  <c:v>-11.97931214083069</c:v>
                </c:pt>
                <c:pt idx="98">
                  <c:v>-11.977974606004505</c:v>
                </c:pt>
                <c:pt idx="99">
                  <c:v>-11.920791061608144</c:v>
                </c:pt>
                <c:pt idx="100">
                  <c:v>-11.852990658816669</c:v>
                </c:pt>
                <c:pt idx="101">
                  <c:v>-11.812383042704381</c:v>
                </c:pt>
                <c:pt idx="102">
                  <c:v>-11.768454499391986</c:v>
                </c:pt>
                <c:pt idx="103">
                  <c:v>-11.716304732819788</c:v>
                </c:pt>
                <c:pt idx="104">
                  <c:v>-11.668600846764784</c:v>
                </c:pt>
                <c:pt idx="105">
                  <c:v>-11.607506632153887</c:v>
                </c:pt>
                <c:pt idx="106">
                  <c:v>-11.571307830066441</c:v>
                </c:pt>
                <c:pt idx="107">
                  <c:v>-11.524109555327458</c:v>
                </c:pt>
                <c:pt idx="108">
                  <c:v>-11.476797962914221</c:v>
                </c:pt>
                <c:pt idx="109">
                  <c:v>-11.420672762438173</c:v>
                </c:pt>
                <c:pt idx="110">
                  <c:v>-11.376378722244178</c:v>
                </c:pt>
                <c:pt idx="111">
                  <c:v>-11.333691459406518</c:v>
                </c:pt>
                <c:pt idx="112">
                  <c:v>-11.287451344827193</c:v>
                </c:pt>
                <c:pt idx="113">
                  <c:v>-11.223119296806512</c:v>
                </c:pt>
                <c:pt idx="114">
                  <c:v>-11.184515855838439</c:v>
                </c:pt>
                <c:pt idx="115">
                  <c:v>-11.159367182238604</c:v>
                </c:pt>
                <c:pt idx="116">
                  <c:v>-11.094056671962974</c:v>
                </c:pt>
                <c:pt idx="117">
                  <c:v>-11.058413869792306</c:v>
                </c:pt>
                <c:pt idx="118">
                  <c:v>-10.99767250373081</c:v>
                </c:pt>
                <c:pt idx="119">
                  <c:v>-10.952627084857676</c:v>
                </c:pt>
                <c:pt idx="120">
                  <c:v>-10.913727518392303</c:v>
                </c:pt>
                <c:pt idx="121">
                  <c:v>-10.868126463261079</c:v>
                </c:pt>
                <c:pt idx="122">
                  <c:v>-10.809154703226071</c:v>
                </c:pt>
                <c:pt idx="123">
                  <c:v>-10.795598565964875</c:v>
                </c:pt>
                <c:pt idx="124">
                  <c:v>-10.733210845602406</c:v>
                </c:pt>
                <c:pt idx="125">
                  <c:v>-10.695985613517642</c:v>
                </c:pt>
                <c:pt idx="126">
                  <c:v>-10.655030018305874</c:v>
                </c:pt>
                <c:pt idx="127">
                  <c:v>-10.599413361983753</c:v>
                </c:pt>
                <c:pt idx="128">
                  <c:v>-10.547581980898673</c:v>
                </c:pt>
                <c:pt idx="129">
                  <c:v>-10.530147450218021</c:v>
                </c:pt>
                <c:pt idx="130">
                  <c:v>-10.502164253295918</c:v>
                </c:pt>
                <c:pt idx="131">
                  <c:v>-10.455279088292029</c:v>
                </c:pt>
                <c:pt idx="132">
                  <c:v>-10.440485382164555</c:v>
                </c:pt>
                <c:pt idx="133">
                  <c:v>-10.387865197008884</c:v>
                </c:pt>
                <c:pt idx="134">
                  <c:v>-10.349640914936444</c:v>
                </c:pt>
                <c:pt idx="135">
                  <c:v>-10.3261208043617</c:v>
                </c:pt>
                <c:pt idx="136">
                  <c:v>-10.283899795633015</c:v>
                </c:pt>
                <c:pt idx="137">
                  <c:v>-10.239962195266614</c:v>
                </c:pt>
                <c:pt idx="138">
                  <c:v>-10.191136435684454</c:v>
                </c:pt>
                <c:pt idx="139">
                  <c:v>-10.160144533975712</c:v>
                </c:pt>
                <c:pt idx="140">
                  <c:v>-10.122811868427286</c:v>
                </c:pt>
                <c:pt idx="141">
                  <c:v>-10.081732728678377</c:v>
                </c:pt>
                <c:pt idx="142">
                  <c:v>-10.061364314088554</c:v>
                </c:pt>
                <c:pt idx="143">
                  <c:v>-10.032003440755521</c:v>
                </c:pt>
                <c:pt idx="144">
                  <c:v>-9.9923282018925406</c:v>
                </c:pt>
                <c:pt idx="145">
                  <c:v>-9.9579166864600239</c:v>
                </c:pt>
                <c:pt idx="146">
                  <c:v>-9.9286245140253833</c:v>
                </c:pt>
                <c:pt idx="147">
                  <c:v>-9.8706832659668216</c:v>
                </c:pt>
                <c:pt idx="148">
                  <c:v>-9.8733409129963086</c:v>
                </c:pt>
                <c:pt idx="149">
                  <c:v>-9.8277937654430811</c:v>
                </c:pt>
                <c:pt idx="150">
                  <c:v>-9.8201572028392512</c:v>
                </c:pt>
                <c:pt idx="151">
                  <c:v>-9.7792609745645596</c:v>
                </c:pt>
                <c:pt idx="152">
                  <c:v>-9.75295944453954</c:v>
                </c:pt>
                <c:pt idx="153">
                  <c:v>-9.7256513532771915</c:v>
                </c:pt>
                <c:pt idx="154">
                  <c:v>-9.7227444099757179</c:v>
                </c:pt>
                <c:pt idx="155">
                  <c:v>-9.6825043334591818</c:v>
                </c:pt>
                <c:pt idx="156">
                  <c:v>-9.6559085938823515</c:v>
                </c:pt>
                <c:pt idx="157">
                  <c:v>-9.6210065568988732</c:v>
                </c:pt>
                <c:pt idx="158">
                  <c:v>-9.5968535672545823</c:v>
                </c:pt>
                <c:pt idx="159">
                  <c:v>-9.5719046964590841</c:v>
                </c:pt>
                <c:pt idx="160">
                  <c:v>-9.5320268377413484</c:v>
                </c:pt>
                <c:pt idx="161">
                  <c:v>-9.4958913195749304</c:v>
                </c:pt>
                <c:pt idx="162">
                  <c:v>-9.4688007071151628</c:v>
                </c:pt>
                <c:pt idx="163">
                  <c:v>-9.4358233434419034</c:v>
                </c:pt>
                <c:pt idx="164">
                  <c:v>-9.4103388168402962</c:v>
                </c:pt>
                <c:pt idx="165">
                  <c:v>-9.4103988207351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7E-4BEE-B714-EF38808B77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67250976"/>
        <c:axId val="267251960"/>
      </c:lineChart>
      <c:catAx>
        <c:axId val="267250976"/>
        <c:scaling>
          <c:orientation val="minMax"/>
        </c:scaling>
        <c:delete val="1"/>
        <c:axPos val="b"/>
        <c:numFmt formatCode="###0" sourceLinked="0"/>
        <c:majorTickMark val="none"/>
        <c:minorTickMark val="none"/>
        <c:tickLblPos val="nextTo"/>
        <c:crossAx val="267251960"/>
        <c:crosses val="autoZero"/>
        <c:auto val="1"/>
        <c:lblAlgn val="ctr"/>
        <c:lblOffset val="100"/>
        <c:tickLblSkip val="255"/>
        <c:noMultiLvlLbl val="0"/>
      </c:catAx>
      <c:valAx>
        <c:axId val="267251960"/>
        <c:scaling>
          <c:orientation val="minMax"/>
          <c:max val="10"/>
          <c:min val="-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°\C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67250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8213877737040711"/>
          <c:y val="0.26658775968342707"/>
          <c:w val="0.43696248733507459"/>
          <c:h val="0.231415258704614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88950" y="5116513"/>
            <a:ext cx="6121400" cy="4177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-279400" y="904875"/>
            <a:ext cx="6575425" cy="3698875"/>
          </a:xfrm>
          <a:prstGeom prst="rect">
            <a:avLst/>
          </a:prstGeom>
          <a:noFill/>
          <a:ln w="9525">
            <a:solidFill>
              <a:srgbClr val="32323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141332" name="Rectangle 1044"/>
          <p:cNvSpPr>
            <a:spLocks noGrp="1" noChangeArrowheads="1"/>
          </p:cNvSpPr>
          <p:nvPr>
            <p:ph type="hdr" sz="quarter"/>
          </p:nvPr>
        </p:nvSpPr>
        <p:spPr bwMode="gray">
          <a:xfrm>
            <a:off x="481202" y="471488"/>
            <a:ext cx="6129147" cy="327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400" b="1" noProof="1">
                <a:solidFill>
                  <a:schemeClr val="accent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00"/>
          <a:stretch/>
        </p:blipFill>
        <p:spPr>
          <a:xfrm>
            <a:off x="5366919" y="9544915"/>
            <a:ext cx="1260000" cy="216908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 bwMode="gray">
          <a:xfrm rot="5400000">
            <a:off x="3405650" y="6550489"/>
            <a:ext cx="288000" cy="70993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369055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ts val="200"/>
      </a:spcBef>
      <a:spcAft>
        <a:spcPts val="200"/>
      </a:spcAft>
      <a:defRPr sz="1000" b="1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1588" algn="l" rtl="0" eaLnBrk="0" fontAlgn="base" hangingPunct="0">
      <a:spcBef>
        <a:spcPts val="200"/>
      </a:spcBef>
      <a:spcAft>
        <a:spcPts val="200"/>
      </a:spcAft>
      <a:defRPr sz="1000" b="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180975" indent="-180000" algn="l" rtl="0" eaLnBrk="0" fontAlgn="base" hangingPunct="0">
      <a:spcBef>
        <a:spcPts val="200"/>
      </a:spcBef>
      <a:spcAft>
        <a:spcPts val="200"/>
      </a:spcAft>
      <a:buClr>
        <a:schemeClr val="accent2"/>
      </a:buClr>
      <a:buSzPct val="80000"/>
      <a:buFont typeface="Wingdings" pitchFamily="2" charset="2"/>
      <a:buChar char="n"/>
      <a:defRPr sz="10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360363" indent="-180975" algn="l" rtl="0" eaLnBrk="0" fontAlgn="base" hangingPunct="0">
      <a:spcBef>
        <a:spcPts val="200"/>
      </a:spcBef>
      <a:spcAft>
        <a:spcPts val="200"/>
      </a:spcAft>
      <a:buClr>
        <a:schemeClr val="accent2"/>
      </a:buClr>
      <a:buFont typeface="Arial" pitchFamily="34" charset="0"/>
      <a:buChar char="−"/>
      <a:defRPr sz="10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538163" indent="-180000" algn="l" rtl="0" eaLnBrk="0" fontAlgn="base" hangingPunct="0">
      <a:spcBef>
        <a:spcPts val="200"/>
      </a:spcBef>
      <a:spcAft>
        <a:spcPts val="200"/>
      </a:spcAft>
      <a:buClr>
        <a:schemeClr val="accent2"/>
      </a:buClr>
      <a:buFont typeface="Arial" pitchFamily="34" charset="0"/>
      <a:buChar char="−"/>
      <a:defRPr sz="10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2"/>
      </a:buClr>
      <a:buFont typeface="Arial" pitchFamily="34" charset="0"/>
      <a:buChar char="−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2"/>
      </a:buClr>
      <a:buFont typeface="Arial" pitchFamily="34" charset="0"/>
      <a:buChar char="−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2"/>
      </a:buClr>
      <a:buFont typeface="Arial" pitchFamily="34" charset="0"/>
      <a:buChar char="−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2"/>
      </a:buClr>
      <a:buFont typeface="Arial" pitchFamily="34" charset="0"/>
      <a:buChar char="−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95452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035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lIns="99048" tIns="49524" rIns="99048" bIns="49524"/>
          <a:lstStyle/>
          <a:p>
            <a:fld id="{93E565F5-AEF1-458E-BAA2-957A80E11216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3086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995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2902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7CAECD1-2CEB-1540-8E2E-6FB85110B1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04000" y="5886000"/>
            <a:ext cx="2520281" cy="840094"/>
          </a:xfrm>
          <a:prstGeom prst="rect">
            <a:avLst/>
          </a:prstGeom>
        </p:spPr>
      </p:pic>
      <p:pic>
        <p:nvPicPr>
          <p:cNvPr id="11" name="Bildplatzhalter 5"/>
          <p:cNvPicPr>
            <a:picLocks noChangeAspect="1"/>
          </p:cNvPicPr>
          <p:nvPr userDrawn="1"/>
        </p:nvPicPr>
        <p:blipFill>
          <a:blip r:embed="rId3"/>
          <a:srcRect t="33315" b="33315"/>
          <a:stretch>
            <a:fillRect/>
          </a:stretch>
        </p:blipFill>
        <p:spPr>
          <a:xfrm>
            <a:off x="327600" y="0"/>
            <a:ext cx="11865600" cy="3960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326485" y="0"/>
            <a:ext cx="11868690" cy="396091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04288" y="4104950"/>
            <a:ext cx="9122375" cy="900208"/>
          </a:xfrm>
        </p:spPr>
        <p:txBody>
          <a:bodyPr anchor="b" anchorCtr="0">
            <a:noAutofit/>
          </a:bodyPr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04288" y="5005159"/>
            <a:ext cx="9122375" cy="900208"/>
          </a:xfrm>
        </p:spPr>
        <p:txBody>
          <a:bodyPr anchor="t" anchorCtr="0"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04288" y="5905367"/>
            <a:ext cx="4801250" cy="504117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rgbClr val="696E75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Ort, Monat Jahr</a:t>
            </a:r>
          </a:p>
        </p:txBody>
      </p:sp>
    </p:spTree>
    <p:extLst>
      <p:ext uri="{BB962C8B-B14F-4D97-AF65-F5344CB8AC3E}">
        <p14:creationId xmlns:p14="http://schemas.microsoft.com/office/powerpoint/2010/main" val="4135996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326485" y="0"/>
            <a:ext cx="11868690" cy="6859588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27761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E7163E6-53EC-764F-B2C3-3159AB54DB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01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247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78" tIns="54439" rIns="108878" bIns="54439"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04288" y="936217"/>
            <a:ext cx="9122375" cy="3600834"/>
          </a:xfrm>
        </p:spPr>
        <p:txBody>
          <a:bodyPr anchor="ctr" anchorCtr="0">
            <a:normAutofit/>
          </a:bodyPr>
          <a:lstStyle>
            <a:lvl1pPr algn="l">
              <a:defRPr sz="6000" b="1" cap="all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7971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5DCDF2C0-28F7-8D43-B105-B5D7EB8517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4000" y="5886000"/>
            <a:ext cx="2520281" cy="840094"/>
          </a:xfrm>
          <a:prstGeom prst="rect">
            <a:avLst/>
          </a:prstGeom>
        </p:spPr>
      </p:pic>
      <p:pic>
        <p:nvPicPr>
          <p:cNvPr id="10" name="Bildplatzhalter 4"/>
          <p:cNvPicPr>
            <a:picLocks noChangeAspect="1"/>
          </p:cNvPicPr>
          <p:nvPr userDrawn="1"/>
        </p:nvPicPr>
        <p:blipFill>
          <a:blip r:embed="rId4"/>
          <a:srcRect l="19591" r="19591"/>
          <a:stretch>
            <a:fillRect/>
          </a:stretch>
        </p:blipFill>
        <p:spPr>
          <a:xfrm>
            <a:off x="327600" y="0"/>
            <a:ext cx="4182099" cy="6876000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326488" y="-1"/>
            <a:ext cx="4183189" cy="687759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feld 5"/>
          <p:cNvSpPr txBox="1"/>
          <p:nvPr userDrawn="1">
            <p:custDataLst>
              <p:tags r:id="rId1"/>
            </p:custDataLst>
          </p:nvPr>
        </p:nvSpPr>
        <p:spPr>
          <a:xfrm>
            <a:off x="6313889" y="6589526"/>
            <a:ext cx="1920500" cy="215494"/>
          </a:xfrm>
          <a:prstGeom prst="rect">
            <a:avLst/>
          </a:prstGeom>
          <a:solidFill>
            <a:schemeClr val="bg1"/>
          </a:solidFill>
        </p:spPr>
        <p:txBody>
          <a:bodyPr vert="horz" lIns="108878" tIns="54439" rIns="108878" bIns="54439" rtlCol="0" anchor="ctr"/>
          <a:lstStyle>
            <a:defPPr>
              <a:defRPr lang="de-DE"/>
            </a:defPPr>
            <a:lvl1pPr>
              <a:defRPr sz="800"/>
            </a:lvl1pPr>
          </a:lstStyle>
          <a:p>
            <a:pPr lvl="0"/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29389" y="540125"/>
            <a:ext cx="6480454" cy="79218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5329389" y="1548359"/>
            <a:ext cx="6480454" cy="4321000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664240" indent="-342900">
              <a:buFont typeface="+mj-lt"/>
              <a:buAutoNum type="arabicPeriod"/>
              <a:defRPr/>
            </a:lvl2pPr>
            <a:lvl3pPr marL="985580" indent="-342900">
              <a:buFont typeface="+mj-lt"/>
              <a:buAutoNum type="arabicPeriod"/>
              <a:defRPr/>
            </a:lvl3pPr>
            <a:lvl4pPr marL="1303140" indent="-342900">
              <a:buFont typeface="+mj-lt"/>
              <a:buAutoNum type="arabicPeriod"/>
              <a:defRPr/>
            </a:lvl4pPr>
            <a:lvl5pPr marL="162448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03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2B40398B-CBEF-274A-BE42-E9A427A485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4000" y="5886000"/>
            <a:ext cx="2520281" cy="840094"/>
          </a:xfrm>
          <a:prstGeom prst="rect">
            <a:avLst/>
          </a:prstGeom>
        </p:spPr>
      </p:pic>
      <p:pic>
        <p:nvPicPr>
          <p:cNvPr id="11" name="Bildplatzhalter 5"/>
          <p:cNvPicPr>
            <a:picLocks noChangeAspect="1"/>
          </p:cNvPicPr>
          <p:nvPr userDrawn="1"/>
        </p:nvPicPr>
        <p:blipFill>
          <a:blip r:embed="rId4"/>
          <a:srcRect t="41959" b="41959"/>
          <a:stretch>
            <a:fillRect/>
          </a:stretch>
        </p:blipFill>
        <p:spPr>
          <a:xfrm>
            <a:off x="327600" y="3888000"/>
            <a:ext cx="11865600" cy="190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326485" y="3888900"/>
            <a:ext cx="11868690" cy="190844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256588" y="2268526"/>
            <a:ext cx="9553254" cy="369418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cxnSp>
        <p:nvCxnSpPr>
          <p:cNvPr id="17" name="Gerade Verbindung 16"/>
          <p:cNvCxnSpPr/>
          <p:nvPr userDrawn="1"/>
        </p:nvCxnSpPr>
        <p:spPr>
          <a:xfrm>
            <a:off x="2015026" y="1872434"/>
            <a:ext cx="0" cy="1171643"/>
          </a:xfrm>
          <a:prstGeom prst="line">
            <a:avLst/>
          </a:prstGeom>
          <a:ln w="2857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6193" y="1584367"/>
            <a:ext cx="1681371" cy="1260292"/>
          </a:xfrm>
        </p:spPr>
        <p:txBody>
          <a:bodyPr>
            <a:noAutofit/>
          </a:bodyPr>
          <a:lstStyle>
            <a:lvl1pPr marL="0" indent="0" algn="r">
              <a:buNone/>
              <a:defRPr sz="8600" b="1">
                <a:solidFill>
                  <a:schemeClr val="accent2"/>
                </a:solidFill>
              </a:defRPr>
            </a:lvl1pPr>
            <a:lvl2pPr marL="321340" indent="0">
              <a:buNone/>
              <a:defRPr/>
            </a:lvl2pPr>
            <a:lvl3pPr marL="642680" indent="0">
              <a:buNone/>
              <a:defRPr/>
            </a:lvl3pPr>
            <a:lvl4pPr marL="960240" indent="0">
              <a:buNone/>
              <a:defRPr/>
            </a:lvl4pPr>
            <a:lvl5pPr marL="1281580" indent="0">
              <a:buNone/>
              <a:defRPr/>
            </a:lvl5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8" name="Textfeld 7"/>
          <p:cNvSpPr txBox="1"/>
          <p:nvPr userDrawn="1">
            <p:custDataLst>
              <p:tags r:id="rId1"/>
            </p:custDataLst>
          </p:nvPr>
        </p:nvSpPr>
        <p:spPr>
          <a:xfrm>
            <a:off x="6313889" y="6589526"/>
            <a:ext cx="1920500" cy="215494"/>
          </a:xfrm>
          <a:prstGeom prst="rect">
            <a:avLst/>
          </a:prstGeom>
          <a:solidFill>
            <a:schemeClr val="bg1"/>
          </a:solidFill>
        </p:spPr>
        <p:txBody>
          <a:bodyPr vert="horz" lIns="108878" tIns="54439" rIns="108878" bIns="54439" rtlCol="0" anchor="ctr"/>
          <a:lstStyle>
            <a:defPPr>
              <a:defRPr lang="de-DE"/>
            </a:defPPr>
            <a:lvl1pPr>
              <a:defRPr sz="800"/>
            </a:lvl1pPr>
          </a:lstStyle>
          <a:p>
            <a:pPr lvl="0"/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256588" y="1836428"/>
            <a:ext cx="9553253" cy="461772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605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78" tIns="54439" rIns="108878" bIns="54439" rtlCol="0" anchor="ctr"/>
          <a:lstStyle/>
          <a:p>
            <a:pPr algn="ctr" rtl="0"/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D3EA4C9-9444-3E4E-A165-A3240B86AD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8000" y="2689200"/>
            <a:ext cx="3672408" cy="122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546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78" tIns="54439" rIns="108878" bIns="54439"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01764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78" tIns="54439" rIns="108878" bIns="54439"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565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08FD8BE9-E56C-4F4D-99E1-56BCAC7B4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960250" y="1548359"/>
            <a:ext cx="10849592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005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250" y="540125"/>
            <a:ext cx="10850825" cy="79218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960250" y="1548359"/>
            <a:ext cx="5281375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6529700" y="1548359"/>
            <a:ext cx="5281375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67B952F-6A09-7D49-841C-CCED051FB8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92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60250" y="1548359"/>
            <a:ext cx="3456899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5"/>
          </p:nvPr>
        </p:nvSpPr>
        <p:spPr>
          <a:xfrm>
            <a:off x="4657212" y="1548359"/>
            <a:ext cx="3456899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6"/>
          </p:nvPr>
        </p:nvSpPr>
        <p:spPr>
          <a:xfrm>
            <a:off x="8354175" y="1548359"/>
            <a:ext cx="3456899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B573110-3ACD-DB40-9EFE-C3C9BDFDF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700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960250" y="1548359"/>
            <a:ext cx="10850825" cy="147634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4"/>
          </p:nvPr>
        </p:nvSpPr>
        <p:spPr>
          <a:xfrm>
            <a:off x="960250" y="3240750"/>
            <a:ext cx="5281375" cy="316873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5"/>
          </p:nvPr>
        </p:nvSpPr>
        <p:spPr>
          <a:xfrm>
            <a:off x="6528466" y="3240750"/>
            <a:ext cx="5281375" cy="316873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CCC998F-3A76-0744-8773-82476B841B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61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große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960265" y="1548360"/>
            <a:ext cx="10850825" cy="148446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960250" y="3240749"/>
            <a:ext cx="10850825" cy="316629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3C8BC4C-C07F-EA4F-A0F8-32FFCE0451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889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960250" y="1548359"/>
            <a:ext cx="7153863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8354175" y="1548359"/>
            <a:ext cx="3456899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4A4EFAB-1F5B-334F-BFA4-87A9CC8D27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589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960250" y="1548359"/>
            <a:ext cx="3456899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5"/>
          </p:nvPr>
        </p:nvSpPr>
        <p:spPr>
          <a:xfrm>
            <a:off x="4657212" y="1548359"/>
            <a:ext cx="7153863" cy="486112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6A14BB2-C5AE-7848-A002-A0B215242D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43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8"/>
          </p:nvPr>
        </p:nvSpPr>
        <p:spPr>
          <a:xfrm>
            <a:off x="960250" y="1548359"/>
            <a:ext cx="3456899" cy="3178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4657212" y="1548359"/>
            <a:ext cx="3456899" cy="147634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20"/>
          </p:nvPr>
        </p:nvSpPr>
        <p:spPr>
          <a:xfrm>
            <a:off x="8354175" y="1548359"/>
            <a:ext cx="3456899" cy="147634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21"/>
          </p:nvPr>
        </p:nvSpPr>
        <p:spPr>
          <a:xfrm>
            <a:off x="4657212" y="3250740"/>
            <a:ext cx="3456899" cy="147634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5" name="Bildplatzhalter 24"/>
          <p:cNvSpPr>
            <a:spLocks noGrp="1"/>
          </p:cNvSpPr>
          <p:nvPr>
            <p:ph type="pic" sz="quarter" idx="22"/>
          </p:nvPr>
        </p:nvSpPr>
        <p:spPr>
          <a:xfrm>
            <a:off x="8354175" y="3250740"/>
            <a:ext cx="3456899" cy="147634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7" name="Inhaltsplatzhalter 26"/>
          <p:cNvSpPr>
            <a:spLocks noGrp="1"/>
          </p:cNvSpPr>
          <p:nvPr>
            <p:ph sz="quarter" idx="23"/>
          </p:nvPr>
        </p:nvSpPr>
        <p:spPr>
          <a:xfrm>
            <a:off x="960250" y="4941444"/>
            <a:ext cx="3456899" cy="1468040"/>
          </a:xfrm>
        </p:spPr>
        <p:txBody>
          <a:bodyPr/>
          <a:lstStyle>
            <a:lvl1pPr marL="0" indent="0">
              <a:buNone/>
              <a:defRPr lang="de-DE" sz="1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1340" indent="0">
              <a:buNone/>
              <a:defRPr lang="de-DE" sz="1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2680" indent="0">
              <a:buNone/>
              <a:defRPr lang="de-DE" sz="1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240" indent="0">
              <a:buNone/>
              <a:defRPr lang="de-DE" sz="1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1580" indent="0">
              <a:buNone/>
              <a:defRPr lang="en-US" sz="19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9" name="Inhaltsplatzhalter 28"/>
          <p:cNvSpPr>
            <a:spLocks noGrp="1"/>
          </p:cNvSpPr>
          <p:nvPr>
            <p:ph sz="quarter" idx="24"/>
          </p:nvPr>
        </p:nvSpPr>
        <p:spPr>
          <a:xfrm>
            <a:off x="4657212" y="4941444"/>
            <a:ext cx="7153863" cy="146804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7304826-A1AD-2347-8D87-3E286D7FCD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4000" y="122400"/>
            <a:ext cx="1296144" cy="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042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960251" y="540125"/>
            <a:ext cx="10849591" cy="792183"/>
          </a:xfrm>
          <a:prstGeom prst="rect">
            <a:avLst/>
          </a:prstGeom>
        </p:spPr>
        <p:txBody>
          <a:bodyPr vert="horz" lIns="108878" tIns="54439" rIns="108878" bIns="54439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0249" y="1548358"/>
            <a:ext cx="10849593" cy="4861125"/>
          </a:xfrm>
          <a:prstGeom prst="rect">
            <a:avLst/>
          </a:prstGeom>
        </p:spPr>
        <p:txBody>
          <a:bodyPr vert="horz" lIns="108878" tIns="54439" rIns="108878" bIns="54439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786782" y="6589525"/>
            <a:ext cx="1585638" cy="216050"/>
          </a:xfrm>
          <a:prstGeom prst="rect">
            <a:avLst/>
          </a:prstGeom>
        </p:spPr>
        <p:txBody>
          <a:bodyPr vert="horz" lIns="108878" tIns="54439" rIns="108878" bIns="54439" rtlCol="0" anchor="ctr"/>
          <a:lstStyle>
            <a:lvl1pPr algn="r">
              <a:buNone/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60249" y="6589525"/>
            <a:ext cx="4801250" cy="216050"/>
          </a:xfrm>
          <a:prstGeom prst="rect">
            <a:avLst/>
          </a:prstGeom>
        </p:spPr>
        <p:txBody>
          <a:bodyPr vert="horz" lIns="108878" tIns="54439" rIns="108878" bIns="54439" rtlCol="0" anchor="ctr"/>
          <a:lstStyle>
            <a:lvl1pPr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40986" y="6589525"/>
            <a:ext cx="972000" cy="216050"/>
          </a:xfrm>
          <a:prstGeom prst="rect">
            <a:avLst/>
          </a:prstGeom>
        </p:spPr>
        <p:txBody>
          <a:bodyPr vert="horz" lIns="108878" tIns="54439" rIns="108878" bIns="54439" rtlCol="0" anchor="ctr"/>
          <a:lstStyle>
            <a:lvl1pPr algn="r">
              <a:buNone/>
              <a:defRPr sz="1000">
                <a:solidFill>
                  <a:schemeClr val="tx1"/>
                </a:solidFill>
              </a:defRPr>
            </a:lvl1pPr>
          </a:lstStyle>
          <a:p>
            <a:fld id="{9F1E5243-5EAD-BA4C-9EC0-664B93609A9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0" y="0"/>
            <a:ext cx="326485" cy="685958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78" tIns="54439" rIns="108878" bIns="54439" rtlCol="0" anchor="ctr"/>
          <a:lstStyle/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Line 119"/>
          <p:cNvSpPr>
            <a:spLocks noChangeShapeType="1"/>
          </p:cNvSpPr>
          <p:nvPr/>
        </p:nvSpPr>
        <p:spPr bwMode="gray">
          <a:xfrm flipH="1">
            <a:off x="-192668" y="6409483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0" name="Line 120"/>
          <p:cNvSpPr>
            <a:spLocks noChangeShapeType="1"/>
          </p:cNvSpPr>
          <p:nvPr/>
        </p:nvSpPr>
        <p:spPr bwMode="gray">
          <a:xfrm flipH="1">
            <a:off x="-192668" y="4940344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1" name="Line 121"/>
          <p:cNvSpPr>
            <a:spLocks noChangeShapeType="1"/>
          </p:cNvSpPr>
          <p:nvPr/>
        </p:nvSpPr>
        <p:spPr bwMode="gray">
          <a:xfrm flipH="1">
            <a:off x="-192668" y="4724294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2" name="Line 122"/>
          <p:cNvSpPr>
            <a:spLocks noChangeShapeType="1"/>
          </p:cNvSpPr>
          <p:nvPr/>
        </p:nvSpPr>
        <p:spPr bwMode="gray">
          <a:xfrm flipH="1">
            <a:off x="-192669" y="3247952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3" name="Line 123"/>
          <p:cNvSpPr>
            <a:spLocks noChangeShapeType="1"/>
          </p:cNvSpPr>
          <p:nvPr/>
        </p:nvSpPr>
        <p:spPr bwMode="gray">
          <a:xfrm flipH="1">
            <a:off x="-192668" y="3031902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4" name="Line 124"/>
          <p:cNvSpPr>
            <a:spLocks noChangeShapeType="1"/>
          </p:cNvSpPr>
          <p:nvPr/>
        </p:nvSpPr>
        <p:spPr bwMode="gray">
          <a:xfrm flipH="1">
            <a:off x="-192668" y="1548357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6" name="Line 124"/>
          <p:cNvSpPr>
            <a:spLocks noChangeShapeType="1"/>
          </p:cNvSpPr>
          <p:nvPr/>
        </p:nvSpPr>
        <p:spPr bwMode="gray">
          <a:xfrm flipH="1">
            <a:off x="-192668" y="1333809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7" name="Line 86"/>
          <p:cNvSpPr>
            <a:spLocks noChangeShapeType="1"/>
          </p:cNvSpPr>
          <p:nvPr/>
        </p:nvSpPr>
        <p:spPr bwMode="gray">
          <a:xfrm rot="5400000" flipH="1">
            <a:off x="11765659" y="-100038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8" name="Line 88"/>
          <p:cNvSpPr>
            <a:spLocks noChangeShapeType="1"/>
          </p:cNvSpPr>
          <p:nvPr/>
        </p:nvSpPr>
        <p:spPr bwMode="gray">
          <a:xfrm rot="5400000" flipH="1">
            <a:off x="8079572" y="-100039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19" name="Line 89"/>
          <p:cNvSpPr>
            <a:spLocks noChangeShapeType="1"/>
          </p:cNvSpPr>
          <p:nvPr/>
        </p:nvSpPr>
        <p:spPr bwMode="gray">
          <a:xfrm rot="5400000" flipH="1">
            <a:off x="8312468" y="-100037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20" name="Line 90"/>
          <p:cNvSpPr>
            <a:spLocks noChangeShapeType="1"/>
          </p:cNvSpPr>
          <p:nvPr/>
        </p:nvSpPr>
        <p:spPr bwMode="gray">
          <a:xfrm rot="5400000" flipH="1">
            <a:off x="4615804" y="-100039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21" name="Line 91"/>
          <p:cNvSpPr>
            <a:spLocks noChangeShapeType="1"/>
          </p:cNvSpPr>
          <p:nvPr/>
        </p:nvSpPr>
        <p:spPr bwMode="gray">
          <a:xfrm rot="5400000" flipH="1">
            <a:off x="4376559" y="-100038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22" name="Line 92"/>
          <p:cNvSpPr>
            <a:spLocks noChangeShapeType="1"/>
          </p:cNvSpPr>
          <p:nvPr/>
        </p:nvSpPr>
        <p:spPr bwMode="gray">
          <a:xfrm rot="5400000" flipH="1">
            <a:off x="906236" y="-88104"/>
            <a:ext cx="108025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23" name="Line 93"/>
          <p:cNvSpPr>
            <a:spLocks noChangeShapeType="1"/>
          </p:cNvSpPr>
          <p:nvPr userDrawn="1"/>
        </p:nvSpPr>
        <p:spPr bwMode="gray">
          <a:xfrm rot="5400000" flipH="1">
            <a:off x="272906" y="-88104"/>
            <a:ext cx="108025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25" name="Line 124"/>
          <p:cNvSpPr>
            <a:spLocks noChangeShapeType="1"/>
          </p:cNvSpPr>
          <p:nvPr/>
        </p:nvSpPr>
        <p:spPr bwMode="gray">
          <a:xfrm flipH="1">
            <a:off x="-192668" y="536699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42" name="Line 86"/>
          <p:cNvSpPr>
            <a:spLocks noChangeShapeType="1"/>
          </p:cNvSpPr>
          <p:nvPr userDrawn="1"/>
        </p:nvSpPr>
        <p:spPr bwMode="gray">
          <a:xfrm rot="5400000" flipH="1">
            <a:off x="11767766" y="6928636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43" name="Line 88"/>
          <p:cNvSpPr>
            <a:spLocks noChangeShapeType="1"/>
          </p:cNvSpPr>
          <p:nvPr userDrawn="1"/>
        </p:nvSpPr>
        <p:spPr bwMode="gray">
          <a:xfrm rot="5400000" flipH="1">
            <a:off x="8080422" y="6928635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44" name="Line 89"/>
          <p:cNvSpPr>
            <a:spLocks noChangeShapeType="1"/>
          </p:cNvSpPr>
          <p:nvPr userDrawn="1"/>
        </p:nvSpPr>
        <p:spPr bwMode="gray">
          <a:xfrm rot="5400000" flipH="1">
            <a:off x="8312466" y="6928637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45" name="Line 90"/>
          <p:cNvSpPr>
            <a:spLocks noChangeShapeType="1"/>
          </p:cNvSpPr>
          <p:nvPr userDrawn="1"/>
        </p:nvSpPr>
        <p:spPr bwMode="gray">
          <a:xfrm rot="5400000" flipH="1">
            <a:off x="4614977" y="6928636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46" name="Line 91"/>
          <p:cNvSpPr>
            <a:spLocks noChangeShapeType="1"/>
          </p:cNvSpPr>
          <p:nvPr userDrawn="1"/>
        </p:nvSpPr>
        <p:spPr bwMode="gray">
          <a:xfrm rot="5400000" flipH="1">
            <a:off x="4376559" y="6928637"/>
            <a:ext cx="84156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47" name="Line 92"/>
          <p:cNvSpPr>
            <a:spLocks noChangeShapeType="1"/>
          </p:cNvSpPr>
          <p:nvPr userDrawn="1"/>
        </p:nvSpPr>
        <p:spPr bwMode="gray">
          <a:xfrm rot="5400000" flipH="1">
            <a:off x="906236" y="6940569"/>
            <a:ext cx="108025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48" name="Line 93"/>
          <p:cNvSpPr>
            <a:spLocks noChangeShapeType="1"/>
          </p:cNvSpPr>
          <p:nvPr userDrawn="1"/>
        </p:nvSpPr>
        <p:spPr bwMode="gray">
          <a:xfrm rot="5400000" flipH="1">
            <a:off x="272906" y="6940569"/>
            <a:ext cx="108025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0" name="Line 119"/>
          <p:cNvSpPr>
            <a:spLocks noChangeShapeType="1"/>
          </p:cNvSpPr>
          <p:nvPr userDrawn="1"/>
        </p:nvSpPr>
        <p:spPr bwMode="gray">
          <a:xfrm flipH="1">
            <a:off x="12256573" y="6409483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1" name="Line 120"/>
          <p:cNvSpPr>
            <a:spLocks noChangeShapeType="1"/>
          </p:cNvSpPr>
          <p:nvPr userDrawn="1"/>
        </p:nvSpPr>
        <p:spPr bwMode="gray">
          <a:xfrm flipH="1">
            <a:off x="12256573" y="4940344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2" name="Line 121"/>
          <p:cNvSpPr>
            <a:spLocks noChangeShapeType="1"/>
          </p:cNvSpPr>
          <p:nvPr userDrawn="1"/>
        </p:nvSpPr>
        <p:spPr bwMode="gray">
          <a:xfrm flipH="1">
            <a:off x="12256573" y="4724294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3" name="Line 122"/>
          <p:cNvSpPr>
            <a:spLocks noChangeShapeType="1"/>
          </p:cNvSpPr>
          <p:nvPr userDrawn="1"/>
        </p:nvSpPr>
        <p:spPr bwMode="gray">
          <a:xfrm flipH="1">
            <a:off x="12256572" y="3247952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4" name="Line 123"/>
          <p:cNvSpPr>
            <a:spLocks noChangeShapeType="1"/>
          </p:cNvSpPr>
          <p:nvPr userDrawn="1"/>
        </p:nvSpPr>
        <p:spPr bwMode="gray">
          <a:xfrm flipH="1">
            <a:off x="12256573" y="3031902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5" name="Line 124"/>
          <p:cNvSpPr>
            <a:spLocks noChangeShapeType="1"/>
          </p:cNvSpPr>
          <p:nvPr userDrawn="1"/>
        </p:nvSpPr>
        <p:spPr bwMode="gray">
          <a:xfrm flipH="1">
            <a:off x="12256573" y="1548357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6" name="Line 124"/>
          <p:cNvSpPr>
            <a:spLocks noChangeShapeType="1"/>
          </p:cNvSpPr>
          <p:nvPr userDrawn="1"/>
        </p:nvSpPr>
        <p:spPr bwMode="gray">
          <a:xfrm flipH="1">
            <a:off x="12256573" y="1333809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57" name="Line 124"/>
          <p:cNvSpPr>
            <a:spLocks noChangeShapeType="1"/>
          </p:cNvSpPr>
          <p:nvPr userDrawn="1"/>
        </p:nvSpPr>
        <p:spPr bwMode="gray">
          <a:xfrm flipH="1">
            <a:off x="12256573" y="536699"/>
            <a:ext cx="144038" cy="0"/>
          </a:xfrm>
          <a:prstGeom prst="line">
            <a:avLst/>
          </a:prstGeom>
          <a:noFill/>
          <a:ln w="9525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B8B8B"/>
                  </a:outerShdw>
                </a:effectLst>
              </a14:hiddenEffects>
            </a:ext>
          </a:extLst>
        </p:spPr>
        <p:txBody>
          <a:bodyPr wrap="none" lIns="108878" tIns="54439" rIns="108878" bIns="54439" anchor="ctr"/>
          <a:lstStyle/>
          <a:p>
            <a:endParaRPr lang="de-DE"/>
          </a:p>
        </p:txBody>
      </p:sp>
      <p:sp>
        <p:nvSpPr>
          <p:cNvPr id="8" name="empower - DO NOT DELETE!!!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78" tIns="54439" rIns="108878" bIns="54439" rtlCol="0" anchor="ctr"/>
          <a:lstStyle/>
          <a:p>
            <a:pPr algn="ctr"/>
            <a:endParaRPr lang="de-DE"/>
          </a:p>
        </p:txBody>
      </p:sp>
      <p:sp>
        <p:nvSpPr>
          <p:cNvPr id="15" name="DE"/>
          <p:cNvSpPr txBox="1"/>
          <p:nvPr userDrawn="1">
            <p:custDataLst>
              <p:tags r:id="rId21"/>
            </p:custDataLst>
          </p:nvPr>
        </p:nvSpPr>
        <p:spPr>
          <a:xfrm>
            <a:off x="6313889" y="6589526"/>
            <a:ext cx="1920500" cy="215494"/>
          </a:xfrm>
          <a:prstGeom prst="rect">
            <a:avLst/>
          </a:prstGeom>
        </p:spPr>
        <p:txBody>
          <a:bodyPr vert="horz" lIns="108878" tIns="54439" rIns="108878" bIns="54439" rtlCol="0" anchor="ctr"/>
          <a:lstStyle>
            <a:defPPr>
              <a:defRPr lang="de-DE"/>
            </a:defPPr>
            <a:lvl1pPr>
              <a:defRPr sz="800"/>
            </a:lvl1pPr>
          </a:lstStyle>
          <a:p>
            <a:pPr lvl="0">
              <a:buNone/>
            </a:pPr>
            <a:r>
              <a:rPr lang="de-DE" smtClean="0"/>
              <a:t>Vertraulich</a:t>
            </a:r>
            <a:endParaRPr lang="de-DE" dirty="0"/>
          </a:p>
        </p:txBody>
      </p:sp>
      <p:sp>
        <p:nvSpPr>
          <p:cNvPr id="40" name="EN"/>
          <p:cNvSpPr txBox="1">
            <a:spLocks/>
          </p:cNvSpPr>
          <p:nvPr userDrawn="1">
            <p:custDataLst>
              <p:tags r:id="rId22"/>
            </p:custDataLst>
          </p:nvPr>
        </p:nvSpPr>
        <p:spPr>
          <a:xfrm>
            <a:off x="6313889" y="6589526"/>
            <a:ext cx="1920500" cy="215494"/>
          </a:xfrm>
          <a:prstGeom prst="rect">
            <a:avLst/>
          </a:prstGeom>
        </p:spPr>
        <p:txBody>
          <a:bodyPr vert="horz" lIns="108878" tIns="54439" rIns="108878" bIns="54439" rtlCol="0" anchor="ctr"/>
          <a:lstStyle>
            <a:defPPr>
              <a:defRPr lang="de-DE"/>
            </a:defPPr>
            <a:lvl1pPr>
              <a:defRPr sz="800"/>
            </a:lvl1pPr>
          </a:lstStyle>
          <a:p>
            <a:pPr lvl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032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44388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1340" indent="-321340" algn="l" defTabSz="544388" rtl="0" eaLnBrk="1" latinLnBrk="0" hangingPunct="1">
        <a:spcBef>
          <a:spcPct val="20000"/>
        </a:spcBef>
        <a:buClr>
          <a:schemeClr val="accent2"/>
        </a:buClr>
        <a:buFont typeface="Lucida Grande"/>
        <a:buChar char="■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42680" indent="-321340" algn="l" defTabSz="544388" rtl="0" eaLnBrk="1" latinLnBrk="0" hangingPunct="1">
        <a:spcBef>
          <a:spcPct val="20000"/>
        </a:spcBef>
        <a:buClr>
          <a:schemeClr val="accent2"/>
        </a:buClr>
        <a:buFont typeface="Lucida Grande"/>
        <a:buChar char="■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60240" indent="-317560" algn="l" defTabSz="544388" rtl="0" eaLnBrk="1" latinLnBrk="0" hangingPunct="1">
        <a:spcBef>
          <a:spcPct val="20000"/>
        </a:spcBef>
        <a:buClr>
          <a:schemeClr val="accent2"/>
        </a:buClr>
        <a:buFont typeface="Lucida Grande"/>
        <a:buChar char="■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81580" indent="-321340" algn="l" defTabSz="544388" rtl="0" eaLnBrk="1" latinLnBrk="0" hangingPunct="1">
        <a:spcBef>
          <a:spcPct val="20000"/>
        </a:spcBef>
        <a:buClr>
          <a:schemeClr val="accent2"/>
        </a:buClr>
        <a:buFont typeface="Lucida Grande"/>
        <a:buChar char="■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920" indent="-321340" algn="l" defTabSz="544388" rtl="0" eaLnBrk="1" latinLnBrk="0" hangingPunct="1">
        <a:spcBef>
          <a:spcPct val="20000"/>
        </a:spcBef>
        <a:buClr>
          <a:schemeClr val="accent2"/>
        </a:buClr>
        <a:buFont typeface="Lucida Grande"/>
        <a:buChar char="■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4134" indent="-272194" algn="l" defTabSz="54438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54438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54438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54438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5443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" pos="598" userDrawn="1">
          <p15:clr>
            <a:srgbClr val="F26B43"/>
          </p15:clr>
        </p15:guide>
        <p15:guide id="9" pos="7447" userDrawn="1">
          <p15:clr>
            <a:srgbClr val="F26B43"/>
          </p15:clr>
        </p15:guide>
        <p15:guide id="11" orient="horz" pos="975">
          <p15:clr>
            <a:srgbClr val="F26B43"/>
          </p15:clr>
        </p15:guide>
        <p15:guide id="12" orient="horz" pos="841">
          <p15:clr>
            <a:srgbClr val="F26B43"/>
          </p15:clr>
        </p15:guide>
        <p15:guide id="13" orient="horz" pos="339">
          <p15:clr>
            <a:srgbClr val="F26B43"/>
          </p15:clr>
        </p15:guide>
        <p15:guide id="16" orient="horz" pos="40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jpg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10130035" y="4221882"/>
            <a:ext cx="1345342" cy="1695542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100" b="0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5" r="9015"/>
          <a:stretch>
            <a:fillRect/>
          </a:stretch>
        </p:blipFill>
        <p:spPr>
          <a:xfrm>
            <a:off x="10185239" y="5446018"/>
            <a:ext cx="1240940" cy="414137"/>
          </a:xfr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Konzeption </a:t>
            </a:r>
            <a:r>
              <a:rPr lang="de-DE" dirty="0"/>
              <a:t>und experimentelle Analyse </a:t>
            </a:r>
            <a:r>
              <a:rPr lang="de-DE" dirty="0" smtClean="0"/>
              <a:t>eines</a:t>
            </a:r>
            <a:br>
              <a:rPr lang="de-DE" dirty="0" smtClean="0"/>
            </a:br>
            <a:r>
              <a:rPr lang="de-DE" dirty="0" smtClean="0"/>
              <a:t>Heizsystems </a:t>
            </a:r>
            <a:r>
              <a:rPr lang="de-DE" dirty="0"/>
              <a:t>für Li-Ion Batterien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Kick-Off Präsentation Masterarbei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Jannick Brockmann</a:t>
            </a:r>
          </a:p>
          <a:p>
            <a:r>
              <a:rPr lang="de-DE" dirty="0" smtClean="0"/>
              <a:t>Hamburg, Dezember 2018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6921" y="4333247"/>
            <a:ext cx="1176706" cy="94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47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  <a:br>
              <a:rPr lang="de-DE" dirty="0"/>
            </a:br>
            <a:r>
              <a:rPr lang="de-DE" dirty="0" smtClean="0">
                <a:solidFill>
                  <a:schemeClr val="accent2"/>
                </a:solidFill>
              </a:rPr>
              <a:t>Algorithm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10</a:t>
            </a:fld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960251" y="1548359"/>
            <a:ext cx="4690748" cy="4861124"/>
          </a:xfrm>
        </p:spPr>
        <p:txBody>
          <a:bodyPr/>
          <a:lstStyle/>
          <a:p>
            <a:pPr marL="0" indent="0">
              <a:buNone/>
            </a:pPr>
            <a:r>
              <a:rPr lang="de-DE" sz="2000" b="1" dirty="0" smtClean="0"/>
              <a:t>Zweipunktregler mit Hysterese</a:t>
            </a:r>
          </a:p>
          <a:p>
            <a:pPr marL="0" indent="0">
              <a:buNone/>
            </a:pPr>
            <a:endParaRPr lang="de-DE" sz="1100" dirty="0" smtClean="0"/>
          </a:p>
          <a:p>
            <a:pPr lvl="1"/>
            <a:r>
              <a:rPr lang="de-DE" sz="1800" dirty="0" smtClean="0"/>
              <a:t>Funktionale Lösung</a:t>
            </a:r>
          </a:p>
          <a:p>
            <a:pPr lvl="1"/>
            <a:r>
              <a:rPr lang="de-DE" sz="1800" dirty="0" smtClean="0"/>
              <a:t>Regelung auf Stack-Ebene</a:t>
            </a:r>
          </a:p>
          <a:p>
            <a:pPr lvl="1"/>
            <a:r>
              <a:rPr lang="de-DE" sz="1800" dirty="0" smtClean="0"/>
              <a:t>Parameter:</a:t>
            </a:r>
            <a:endParaRPr lang="de-DE" sz="1800" dirty="0"/>
          </a:p>
          <a:p>
            <a:pPr lvl="2"/>
            <a:r>
              <a:rPr lang="de-DE" sz="1600" dirty="0" smtClean="0"/>
              <a:t>Zelltemperatur</a:t>
            </a:r>
            <a:endParaRPr lang="de-DE" dirty="0" smtClean="0"/>
          </a:p>
          <a:p>
            <a:pPr lvl="1"/>
            <a:r>
              <a:rPr lang="de-DE" sz="1800" dirty="0" smtClean="0"/>
              <a:t>Implementiert auf BCU</a:t>
            </a:r>
          </a:p>
          <a:p>
            <a:pPr lvl="1"/>
            <a:endParaRPr lang="de-DE" sz="1800" dirty="0"/>
          </a:p>
          <a:p>
            <a:pPr lvl="1"/>
            <a:endParaRPr lang="de-DE" dirty="0" smtClean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>
          <a:xfrm>
            <a:off x="7296377" y="1548359"/>
            <a:ext cx="4514697" cy="4861124"/>
          </a:xfrm>
        </p:spPr>
        <p:txBody>
          <a:bodyPr/>
          <a:lstStyle/>
          <a:p>
            <a:pPr marL="0" indent="0">
              <a:buNone/>
            </a:pPr>
            <a:r>
              <a:rPr lang="de-DE" sz="2000" b="1" dirty="0" smtClean="0"/>
              <a:t>„</a:t>
            </a:r>
            <a:r>
              <a:rPr lang="de-DE" sz="2000" b="1" dirty="0" err="1" smtClean="0"/>
              <a:t>Energy</a:t>
            </a:r>
            <a:r>
              <a:rPr lang="de-DE" sz="2000" b="1" dirty="0" smtClean="0"/>
              <a:t> </a:t>
            </a:r>
            <a:r>
              <a:rPr lang="de-DE" sz="2000" b="1" dirty="0"/>
              <a:t>Aware </a:t>
            </a:r>
            <a:r>
              <a:rPr lang="de-DE" sz="2000" b="1" dirty="0" err="1" smtClean="0"/>
              <a:t>Scheduling</a:t>
            </a:r>
            <a:r>
              <a:rPr lang="de-DE" sz="2000" b="1" dirty="0" smtClean="0"/>
              <a:t>“</a:t>
            </a:r>
          </a:p>
          <a:p>
            <a:pPr marL="0" indent="0">
              <a:buNone/>
            </a:pPr>
            <a:endParaRPr lang="de-DE" sz="1100" dirty="0"/>
          </a:p>
          <a:p>
            <a:pPr lvl="1"/>
            <a:r>
              <a:rPr lang="de-DE" sz="1800" dirty="0"/>
              <a:t>Komplexerer </a:t>
            </a:r>
            <a:r>
              <a:rPr lang="de-DE" sz="1800" dirty="0" smtClean="0"/>
              <a:t>Algorithmus</a:t>
            </a:r>
          </a:p>
          <a:p>
            <a:pPr lvl="1"/>
            <a:r>
              <a:rPr lang="de-DE" sz="1800" dirty="0" smtClean="0"/>
              <a:t>Regelung auf Batterie-Ebene</a:t>
            </a:r>
          </a:p>
          <a:p>
            <a:pPr lvl="1"/>
            <a:r>
              <a:rPr lang="de-DE" sz="1800" dirty="0" smtClean="0"/>
              <a:t>Parameter:</a:t>
            </a:r>
          </a:p>
          <a:p>
            <a:pPr lvl="2"/>
            <a:r>
              <a:rPr lang="de-DE" sz="1600" dirty="0" err="1" smtClean="0"/>
              <a:t>SoC</a:t>
            </a:r>
            <a:r>
              <a:rPr lang="de-DE" sz="1600" dirty="0" smtClean="0"/>
              <a:t> (Ladezustand)</a:t>
            </a:r>
            <a:endParaRPr lang="de-DE" dirty="0" smtClean="0"/>
          </a:p>
          <a:p>
            <a:pPr lvl="2"/>
            <a:r>
              <a:rPr lang="de-DE" sz="1600" dirty="0" smtClean="0"/>
              <a:t>Zelltemperaturen</a:t>
            </a:r>
            <a:endParaRPr lang="de-DE" dirty="0" smtClean="0"/>
          </a:p>
          <a:p>
            <a:pPr lvl="2"/>
            <a:r>
              <a:rPr lang="de-DE" sz="1600" dirty="0" smtClean="0"/>
              <a:t>Temperaturverteilung</a:t>
            </a:r>
            <a:endParaRPr lang="de-DE" dirty="0" smtClean="0"/>
          </a:p>
          <a:p>
            <a:pPr lvl="2"/>
            <a:r>
              <a:rPr lang="de-DE" sz="1600" dirty="0" smtClean="0"/>
              <a:t>(evtl.) Umgebungstemperatur</a:t>
            </a:r>
            <a:endParaRPr lang="de-DE" dirty="0" smtClean="0"/>
          </a:p>
          <a:p>
            <a:pPr lvl="2"/>
            <a:r>
              <a:rPr lang="de-DE" sz="1600" dirty="0" smtClean="0"/>
              <a:t>Nutzerverhalten (zeitlich)</a:t>
            </a:r>
            <a:endParaRPr lang="de-DE" dirty="0" smtClean="0"/>
          </a:p>
          <a:p>
            <a:pPr lvl="2"/>
            <a:r>
              <a:rPr lang="de-DE" sz="1600" dirty="0" smtClean="0"/>
              <a:t>Erwartete Ladevorgänge</a:t>
            </a:r>
            <a:endParaRPr lang="de-DE" dirty="0" smtClean="0"/>
          </a:p>
          <a:p>
            <a:pPr lvl="2"/>
            <a:r>
              <a:rPr lang="de-DE" sz="1600" dirty="0" smtClean="0"/>
              <a:t>…</a:t>
            </a:r>
            <a:endParaRPr lang="de-DE" dirty="0"/>
          </a:p>
          <a:p>
            <a:pPr lvl="1"/>
            <a:r>
              <a:rPr lang="de-DE" sz="1800" dirty="0" smtClean="0"/>
              <a:t>Implementiert auf </a:t>
            </a:r>
            <a:r>
              <a:rPr lang="de-DE" sz="1800" dirty="0" err="1" smtClean="0"/>
              <a:t>RPi</a:t>
            </a:r>
            <a:r>
              <a:rPr lang="de-DE" sz="1800" dirty="0" smtClean="0"/>
              <a:t> o.Ä.</a:t>
            </a:r>
          </a:p>
          <a:p>
            <a:endParaRPr lang="de-DE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5474946" y="1860006"/>
            <a:ext cx="1821432" cy="4549477"/>
            <a:chOff x="5474946" y="1860006"/>
            <a:chExt cx="1821432" cy="4549477"/>
          </a:xfrm>
        </p:grpSpPr>
        <p:sp>
          <p:nvSpPr>
            <p:cNvPr id="13" name="Freeform 6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226482" y="1860006"/>
              <a:ext cx="236595" cy="210500"/>
            </a:xfrm>
            <a:custGeom>
              <a:avLst/>
              <a:gdLst>
                <a:gd name="T0" fmla="*/ 93 w 410"/>
                <a:gd name="T1" fmla="*/ 0 h 364"/>
                <a:gd name="T2" fmla="*/ 317 w 410"/>
                <a:gd name="T3" fmla="*/ 0 h 364"/>
                <a:gd name="T4" fmla="*/ 342 w 410"/>
                <a:gd name="T5" fmla="*/ 3 h 364"/>
                <a:gd name="T6" fmla="*/ 364 w 410"/>
                <a:gd name="T7" fmla="*/ 12 h 364"/>
                <a:gd name="T8" fmla="*/ 383 w 410"/>
                <a:gd name="T9" fmla="*/ 26 h 364"/>
                <a:gd name="T10" fmla="*/ 398 w 410"/>
                <a:gd name="T11" fmla="*/ 45 h 364"/>
                <a:gd name="T12" fmla="*/ 407 w 410"/>
                <a:gd name="T13" fmla="*/ 68 h 364"/>
                <a:gd name="T14" fmla="*/ 410 w 410"/>
                <a:gd name="T15" fmla="*/ 93 h 364"/>
                <a:gd name="T16" fmla="*/ 410 w 410"/>
                <a:gd name="T17" fmla="*/ 317 h 364"/>
                <a:gd name="T18" fmla="*/ 408 w 410"/>
                <a:gd name="T19" fmla="*/ 331 h 364"/>
                <a:gd name="T20" fmla="*/ 401 w 410"/>
                <a:gd name="T21" fmla="*/ 344 h 364"/>
                <a:gd name="T22" fmla="*/ 391 w 410"/>
                <a:gd name="T23" fmla="*/ 354 h 364"/>
                <a:gd name="T24" fmla="*/ 379 w 410"/>
                <a:gd name="T25" fmla="*/ 360 h 364"/>
                <a:gd name="T26" fmla="*/ 364 w 410"/>
                <a:gd name="T27" fmla="*/ 364 h 364"/>
                <a:gd name="T28" fmla="*/ 46 w 410"/>
                <a:gd name="T29" fmla="*/ 364 h 364"/>
                <a:gd name="T30" fmla="*/ 32 w 410"/>
                <a:gd name="T31" fmla="*/ 360 h 364"/>
                <a:gd name="T32" fmla="*/ 19 w 410"/>
                <a:gd name="T33" fmla="*/ 354 h 364"/>
                <a:gd name="T34" fmla="*/ 8 w 410"/>
                <a:gd name="T35" fmla="*/ 344 h 364"/>
                <a:gd name="T36" fmla="*/ 2 w 410"/>
                <a:gd name="T37" fmla="*/ 331 h 364"/>
                <a:gd name="T38" fmla="*/ 0 w 410"/>
                <a:gd name="T39" fmla="*/ 317 h 364"/>
                <a:gd name="T40" fmla="*/ 0 w 410"/>
                <a:gd name="T41" fmla="*/ 93 h 364"/>
                <a:gd name="T42" fmla="*/ 3 w 410"/>
                <a:gd name="T43" fmla="*/ 68 h 364"/>
                <a:gd name="T44" fmla="*/ 12 w 410"/>
                <a:gd name="T45" fmla="*/ 45 h 364"/>
                <a:gd name="T46" fmla="*/ 27 w 410"/>
                <a:gd name="T47" fmla="*/ 26 h 364"/>
                <a:gd name="T48" fmla="*/ 45 w 410"/>
                <a:gd name="T49" fmla="*/ 12 h 364"/>
                <a:gd name="T50" fmla="*/ 68 w 410"/>
                <a:gd name="T51" fmla="*/ 3 h 364"/>
                <a:gd name="T52" fmla="*/ 93 w 410"/>
                <a:gd name="T53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0" h="364">
                  <a:moveTo>
                    <a:pt x="93" y="0"/>
                  </a:moveTo>
                  <a:lnTo>
                    <a:pt x="317" y="0"/>
                  </a:lnTo>
                  <a:lnTo>
                    <a:pt x="342" y="3"/>
                  </a:lnTo>
                  <a:lnTo>
                    <a:pt x="364" y="12"/>
                  </a:lnTo>
                  <a:lnTo>
                    <a:pt x="383" y="26"/>
                  </a:lnTo>
                  <a:lnTo>
                    <a:pt x="398" y="45"/>
                  </a:lnTo>
                  <a:lnTo>
                    <a:pt x="407" y="68"/>
                  </a:lnTo>
                  <a:lnTo>
                    <a:pt x="410" y="93"/>
                  </a:lnTo>
                  <a:lnTo>
                    <a:pt x="410" y="317"/>
                  </a:lnTo>
                  <a:lnTo>
                    <a:pt x="408" y="331"/>
                  </a:lnTo>
                  <a:lnTo>
                    <a:pt x="401" y="344"/>
                  </a:lnTo>
                  <a:lnTo>
                    <a:pt x="391" y="354"/>
                  </a:lnTo>
                  <a:lnTo>
                    <a:pt x="379" y="360"/>
                  </a:lnTo>
                  <a:lnTo>
                    <a:pt x="364" y="364"/>
                  </a:lnTo>
                  <a:lnTo>
                    <a:pt x="46" y="364"/>
                  </a:lnTo>
                  <a:lnTo>
                    <a:pt x="32" y="360"/>
                  </a:lnTo>
                  <a:lnTo>
                    <a:pt x="19" y="354"/>
                  </a:lnTo>
                  <a:lnTo>
                    <a:pt x="8" y="344"/>
                  </a:lnTo>
                  <a:lnTo>
                    <a:pt x="2" y="331"/>
                  </a:lnTo>
                  <a:lnTo>
                    <a:pt x="0" y="317"/>
                  </a:lnTo>
                  <a:lnTo>
                    <a:pt x="0" y="93"/>
                  </a:lnTo>
                  <a:lnTo>
                    <a:pt x="3" y="68"/>
                  </a:lnTo>
                  <a:lnTo>
                    <a:pt x="12" y="45"/>
                  </a:lnTo>
                  <a:lnTo>
                    <a:pt x="27" y="26"/>
                  </a:lnTo>
                  <a:lnTo>
                    <a:pt x="45" y="12"/>
                  </a:lnTo>
                  <a:lnTo>
                    <a:pt x="68" y="3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7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859413" y="2205658"/>
              <a:ext cx="1436965" cy="570611"/>
            </a:xfrm>
            <a:custGeom>
              <a:avLst/>
              <a:gdLst>
                <a:gd name="T0" fmla="*/ 14 w 2479"/>
                <a:gd name="T1" fmla="*/ 0 h 984"/>
                <a:gd name="T2" fmla="*/ 2178 w 2479"/>
                <a:gd name="T3" fmla="*/ 0 h 984"/>
                <a:gd name="T4" fmla="*/ 2192 w 2479"/>
                <a:gd name="T5" fmla="*/ 3 h 984"/>
                <a:gd name="T6" fmla="*/ 2204 w 2479"/>
                <a:gd name="T7" fmla="*/ 10 h 984"/>
                <a:gd name="T8" fmla="*/ 2213 w 2479"/>
                <a:gd name="T9" fmla="*/ 20 h 984"/>
                <a:gd name="T10" fmla="*/ 2475 w 2479"/>
                <a:gd name="T11" fmla="*/ 472 h 984"/>
                <a:gd name="T12" fmla="*/ 2478 w 2479"/>
                <a:gd name="T13" fmla="*/ 481 h 984"/>
                <a:gd name="T14" fmla="*/ 2479 w 2479"/>
                <a:gd name="T15" fmla="*/ 492 h 984"/>
                <a:gd name="T16" fmla="*/ 2478 w 2479"/>
                <a:gd name="T17" fmla="*/ 503 h 984"/>
                <a:gd name="T18" fmla="*/ 2475 w 2479"/>
                <a:gd name="T19" fmla="*/ 512 h 984"/>
                <a:gd name="T20" fmla="*/ 2213 w 2479"/>
                <a:gd name="T21" fmla="*/ 964 h 984"/>
                <a:gd name="T22" fmla="*/ 2204 w 2479"/>
                <a:gd name="T23" fmla="*/ 974 h 984"/>
                <a:gd name="T24" fmla="*/ 2192 w 2479"/>
                <a:gd name="T25" fmla="*/ 982 h 984"/>
                <a:gd name="T26" fmla="*/ 2178 w 2479"/>
                <a:gd name="T27" fmla="*/ 984 h 984"/>
                <a:gd name="T28" fmla="*/ 19 w 2479"/>
                <a:gd name="T29" fmla="*/ 984 h 984"/>
                <a:gd name="T30" fmla="*/ 9 w 2479"/>
                <a:gd name="T31" fmla="*/ 983 h 984"/>
                <a:gd name="T32" fmla="*/ 3 w 2479"/>
                <a:gd name="T33" fmla="*/ 979 h 984"/>
                <a:gd name="T34" fmla="*/ 0 w 2479"/>
                <a:gd name="T35" fmla="*/ 972 h 984"/>
                <a:gd name="T36" fmla="*/ 3 w 2479"/>
                <a:gd name="T37" fmla="*/ 964 h 984"/>
                <a:gd name="T38" fmla="*/ 264 w 2479"/>
                <a:gd name="T39" fmla="*/ 512 h 984"/>
                <a:gd name="T40" fmla="*/ 267 w 2479"/>
                <a:gd name="T41" fmla="*/ 503 h 984"/>
                <a:gd name="T42" fmla="*/ 269 w 2479"/>
                <a:gd name="T43" fmla="*/ 492 h 984"/>
                <a:gd name="T44" fmla="*/ 267 w 2479"/>
                <a:gd name="T45" fmla="*/ 481 h 984"/>
                <a:gd name="T46" fmla="*/ 264 w 2479"/>
                <a:gd name="T47" fmla="*/ 472 h 984"/>
                <a:gd name="T48" fmla="*/ 3 w 2479"/>
                <a:gd name="T49" fmla="*/ 20 h 984"/>
                <a:gd name="T50" fmla="*/ 0 w 2479"/>
                <a:gd name="T51" fmla="*/ 13 h 984"/>
                <a:gd name="T52" fmla="*/ 2 w 2479"/>
                <a:gd name="T53" fmla="*/ 6 h 984"/>
                <a:gd name="T54" fmla="*/ 6 w 2479"/>
                <a:gd name="T55" fmla="*/ 2 h 984"/>
                <a:gd name="T56" fmla="*/ 14 w 2479"/>
                <a:gd name="T57" fmla="*/ 0 h 9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79" h="984">
                  <a:moveTo>
                    <a:pt x="14" y="0"/>
                  </a:moveTo>
                  <a:lnTo>
                    <a:pt x="2178" y="0"/>
                  </a:lnTo>
                  <a:lnTo>
                    <a:pt x="2192" y="3"/>
                  </a:lnTo>
                  <a:lnTo>
                    <a:pt x="2204" y="10"/>
                  </a:lnTo>
                  <a:lnTo>
                    <a:pt x="2213" y="20"/>
                  </a:lnTo>
                  <a:lnTo>
                    <a:pt x="2475" y="472"/>
                  </a:lnTo>
                  <a:lnTo>
                    <a:pt x="2478" y="481"/>
                  </a:lnTo>
                  <a:lnTo>
                    <a:pt x="2479" y="492"/>
                  </a:lnTo>
                  <a:lnTo>
                    <a:pt x="2478" y="503"/>
                  </a:lnTo>
                  <a:lnTo>
                    <a:pt x="2475" y="512"/>
                  </a:lnTo>
                  <a:lnTo>
                    <a:pt x="2213" y="964"/>
                  </a:lnTo>
                  <a:lnTo>
                    <a:pt x="2204" y="974"/>
                  </a:lnTo>
                  <a:lnTo>
                    <a:pt x="2192" y="982"/>
                  </a:lnTo>
                  <a:lnTo>
                    <a:pt x="2178" y="984"/>
                  </a:lnTo>
                  <a:lnTo>
                    <a:pt x="19" y="984"/>
                  </a:lnTo>
                  <a:lnTo>
                    <a:pt x="9" y="983"/>
                  </a:lnTo>
                  <a:lnTo>
                    <a:pt x="3" y="979"/>
                  </a:lnTo>
                  <a:lnTo>
                    <a:pt x="0" y="972"/>
                  </a:lnTo>
                  <a:lnTo>
                    <a:pt x="3" y="964"/>
                  </a:lnTo>
                  <a:lnTo>
                    <a:pt x="264" y="512"/>
                  </a:lnTo>
                  <a:lnTo>
                    <a:pt x="267" y="503"/>
                  </a:lnTo>
                  <a:lnTo>
                    <a:pt x="269" y="492"/>
                  </a:lnTo>
                  <a:lnTo>
                    <a:pt x="267" y="481"/>
                  </a:lnTo>
                  <a:lnTo>
                    <a:pt x="264" y="472"/>
                  </a:lnTo>
                  <a:lnTo>
                    <a:pt x="3" y="20"/>
                  </a:lnTo>
                  <a:lnTo>
                    <a:pt x="0" y="13"/>
                  </a:lnTo>
                  <a:lnTo>
                    <a:pt x="2" y="6"/>
                  </a:lnTo>
                  <a:lnTo>
                    <a:pt x="6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3200" b="1" dirty="0" smtClean="0">
                  <a:solidFill>
                    <a:schemeClr val="bg1"/>
                  </a:solidFill>
                </a:rPr>
                <a:t>EAS</a:t>
              </a:r>
              <a:endParaRPr lang="de-DE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269974" y="2091382"/>
              <a:ext cx="149611" cy="95682"/>
            </a:xfrm>
            <a:prstGeom prst="rect">
              <a:avLst/>
            </a:prstGeom>
            <a:solidFill>
              <a:schemeClr val="accent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9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474946" y="2928162"/>
              <a:ext cx="1436965" cy="570611"/>
            </a:xfrm>
            <a:custGeom>
              <a:avLst/>
              <a:gdLst>
                <a:gd name="T0" fmla="*/ 302 w 2479"/>
                <a:gd name="T1" fmla="*/ 0 h 984"/>
                <a:gd name="T2" fmla="*/ 2465 w 2479"/>
                <a:gd name="T3" fmla="*/ 0 h 984"/>
                <a:gd name="T4" fmla="*/ 2473 w 2479"/>
                <a:gd name="T5" fmla="*/ 2 h 984"/>
                <a:gd name="T6" fmla="*/ 2478 w 2479"/>
                <a:gd name="T7" fmla="*/ 6 h 984"/>
                <a:gd name="T8" fmla="*/ 2479 w 2479"/>
                <a:gd name="T9" fmla="*/ 13 h 984"/>
                <a:gd name="T10" fmla="*/ 2476 w 2479"/>
                <a:gd name="T11" fmla="*/ 21 h 984"/>
                <a:gd name="T12" fmla="*/ 2215 w 2479"/>
                <a:gd name="T13" fmla="*/ 471 h 984"/>
                <a:gd name="T14" fmla="*/ 2212 w 2479"/>
                <a:gd name="T15" fmla="*/ 481 h 984"/>
                <a:gd name="T16" fmla="*/ 2211 w 2479"/>
                <a:gd name="T17" fmla="*/ 492 h 984"/>
                <a:gd name="T18" fmla="*/ 2212 w 2479"/>
                <a:gd name="T19" fmla="*/ 503 h 984"/>
                <a:gd name="T20" fmla="*/ 2215 w 2479"/>
                <a:gd name="T21" fmla="*/ 512 h 984"/>
                <a:gd name="T22" fmla="*/ 2476 w 2479"/>
                <a:gd name="T23" fmla="*/ 964 h 984"/>
                <a:gd name="T24" fmla="*/ 2479 w 2479"/>
                <a:gd name="T25" fmla="*/ 972 h 984"/>
                <a:gd name="T26" fmla="*/ 2476 w 2479"/>
                <a:gd name="T27" fmla="*/ 979 h 984"/>
                <a:gd name="T28" fmla="*/ 2470 w 2479"/>
                <a:gd name="T29" fmla="*/ 983 h 984"/>
                <a:gd name="T30" fmla="*/ 2460 w 2479"/>
                <a:gd name="T31" fmla="*/ 984 h 984"/>
                <a:gd name="T32" fmla="*/ 302 w 2479"/>
                <a:gd name="T33" fmla="*/ 984 h 984"/>
                <a:gd name="T34" fmla="*/ 288 w 2479"/>
                <a:gd name="T35" fmla="*/ 981 h 984"/>
                <a:gd name="T36" fmla="*/ 275 w 2479"/>
                <a:gd name="T37" fmla="*/ 974 h 984"/>
                <a:gd name="T38" fmla="*/ 266 w 2479"/>
                <a:gd name="T39" fmla="*/ 964 h 984"/>
                <a:gd name="T40" fmla="*/ 5 w 2479"/>
                <a:gd name="T41" fmla="*/ 512 h 984"/>
                <a:gd name="T42" fmla="*/ 1 w 2479"/>
                <a:gd name="T43" fmla="*/ 503 h 984"/>
                <a:gd name="T44" fmla="*/ 0 w 2479"/>
                <a:gd name="T45" fmla="*/ 492 h 984"/>
                <a:gd name="T46" fmla="*/ 0 w 2479"/>
                <a:gd name="T47" fmla="*/ 492 h 984"/>
                <a:gd name="T48" fmla="*/ 1 w 2479"/>
                <a:gd name="T49" fmla="*/ 481 h 984"/>
                <a:gd name="T50" fmla="*/ 5 w 2479"/>
                <a:gd name="T51" fmla="*/ 471 h 984"/>
                <a:gd name="T52" fmla="*/ 266 w 2479"/>
                <a:gd name="T53" fmla="*/ 21 h 984"/>
                <a:gd name="T54" fmla="*/ 275 w 2479"/>
                <a:gd name="T55" fmla="*/ 10 h 984"/>
                <a:gd name="T56" fmla="*/ 288 w 2479"/>
                <a:gd name="T57" fmla="*/ 3 h 984"/>
                <a:gd name="T58" fmla="*/ 302 w 2479"/>
                <a:gd name="T59" fmla="*/ 0 h 9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79" h="984">
                  <a:moveTo>
                    <a:pt x="302" y="0"/>
                  </a:moveTo>
                  <a:lnTo>
                    <a:pt x="2465" y="0"/>
                  </a:lnTo>
                  <a:lnTo>
                    <a:pt x="2473" y="2"/>
                  </a:lnTo>
                  <a:lnTo>
                    <a:pt x="2478" y="6"/>
                  </a:lnTo>
                  <a:lnTo>
                    <a:pt x="2479" y="13"/>
                  </a:lnTo>
                  <a:lnTo>
                    <a:pt x="2476" y="21"/>
                  </a:lnTo>
                  <a:lnTo>
                    <a:pt x="2215" y="471"/>
                  </a:lnTo>
                  <a:lnTo>
                    <a:pt x="2212" y="481"/>
                  </a:lnTo>
                  <a:lnTo>
                    <a:pt x="2211" y="492"/>
                  </a:lnTo>
                  <a:lnTo>
                    <a:pt x="2212" y="503"/>
                  </a:lnTo>
                  <a:lnTo>
                    <a:pt x="2215" y="512"/>
                  </a:lnTo>
                  <a:lnTo>
                    <a:pt x="2476" y="964"/>
                  </a:lnTo>
                  <a:lnTo>
                    <a:pt x="2479" y="972"/>
                  </a:lnTo>
                  <a:lnTo>
                    <a:pt x="2476" y="979"/>
                  </a:lnTo>
                  <a:lnTo>
                    <a:pt x="2470" y="983"/>
                  </a:lnTo>
                  <a:lnTo>
                    <a:pt x="2460" y="984"/>
                  </a:lnTo>
                  <a:lnTo>
                    <a:pt x="302" y="984"/>
                  </a:lnTo>
                  <a:lnTo>
                    <a:pt x="288" y="981"/>
                  </a:lnTo>
                  <a:lnTo>
                    <a:pt x="275" y="974"/>
                  </a:lnTo>
                  <a:lnTo>
                    <a:pt x="266" y="964"/>
                  </a:lnTo>
                  <a:lnTo>
                    <a:pt x="5" y="512"/>
                  </a:lnTo>
                  <a:lnTo>
                    <a:pt x="1" y="503"/>
                  </a:lnTo>
                  <a:lnTo>
                    <a:pt x="0" y="492"/>
                  </a:lnTo>
                  <a:lnTo>
                    <a:pt x="0" y="492"/>
                  </a:lnTo>
                  <a:lnTo>
                    <a:pt x="1" y="481"/>
                  </a:lnTo>
                  <a:lnTo>
                    <a:pt x="5" y="471"/>
                  </a:lnTo>
                  <a:lnTo>
                    <a:pt x="266" y="21"/>
                  </a:lnTo>
                  <a:lnTo>
                    <a:pt x="275" y="10"/>
                  </a:lnTo>
                  <a:lnTo>
                    <a:pt x="288" y="3"/>
                  </a:lnTo>
                  <a:lnTo>
                    <a:pt x="30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3200" b="1" dirty="0" smtClean="0">
                  <a:solidFill>
                    <a:schemeClr val="bg1"/>
                  </a:solidFill>
                </a:rPr>
                <a:t>2PR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269974" y="2797687"/>
              <a:ext cx="149611" cy="111339"/>
            </a:xfrm>
            <a:prstGeom prst="rect">
              <a:avLst/>
            </a:prstGeom>
            <a:solidFill>
              <a:schemeClr val="accent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Rectangle 1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269974" y="3519649"/>
              <a:ext cx="149611" cy="2889834"/>
            </a:xfrm>
            <a:prstGeom prst="rect">
              <a:avLst/>
            </a:prstGeom>
            <a:solidFill>
              <a:schemeClr val="accent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23988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st &amp; Nachweis</a:t>
            </a:r>
            <a:br>
              <a:rPr lang="de-DE" dirty="0" smtClean="0"/>
            </a:br>
            <a:r>
              <a:rPr lang="de-DE" dirty="0">
                <a:solidFill>
                  <a:schemeClr val="accent2"/>
                </a:solidFill>
              </a:rPr>
              <a:t>V</a:t>
            </a:r>
            <a:r>
              <a:rPr lang="de-DE" dirty="0" smtClean="0">
                <a:solidFill>
                  <a:schemeClr val="accent2"/>
                </a:solidFill>
              </a:rPr>
              <a:t>orläufige Skizze zur Versuchsplanung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960250" y="1548359"/>
            <a:ext cx="5209345" cy="4861124"/>
          </a:xfrm>
        </p:spPr>
        <p:txBody>
          <a:bodyPr/>
          <a:lstStyle/>
          <a:p>
            <a:r>
              <a:rPr lang="de-DE" sz="2000" dirty="0" smtClean="0"/>
              <a:t>Vergleich der beiden Regelstrategien</a:t>
            </a:r>
          </a:p>
          <a:p>
            <a:pPr lvl="1"/>
            <a:r>
              <a:rPr lang="de-DE" sz="1800" dirty="0" smtClean="0"/>
              <a:t>Energieeffizienz</a:t>
            </a:r>
            <a:endParaRPr lang="de-DE" sz="2000" dirty="0" smtClean="0"/>
          </a:p>
          <a:p>
            <a:pPr lvl="1"/>
            <a:r>
              <a:rPr lang="de-DE" sz="1800" dirty="0" smtClean="0"/>
              <a:t>Verfügbarkeit der Batterie</a:t>
            </a:r>
            <a:endParaRPr lang="de-DE" sz="2000" dirty="0" smtClean="0"/>
          </a:p>
          <a:p>
            <a:pPr lvl="1"/>
            <a:r>
              <a:rPr lang="de-DE" sz="1800" dirty="0" smtClean="0"/>
              <a:t>Temperaturverteilung</a:t>
            </a:r>
            <a:endParaRPr lang="de-DE" sz="2000" dirty="0" smtClean="0"/>
          </a:p>
          <a:p>
            <a:pPr lvl="1"/>
            <a:r>
              <a:rPr lang="de-DE" sz="1800" dirty="0" smtClean="0"/>
              <a:t>Entwicklungsaufwand/Komplexität</a:t>
            </a:r>
          </a:p>
          <a:p>
            <a:pPr lvl="1"/>
            <a:endParaRPr lang="de-DE" sz="1800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11</a:t>
            </a:fld>
            <a:endParaRPr lang="de-DE"/>
          </a:p>
        </p:txBody>
      </p:sp>
      <p:grpSp>
        <p:nvGrpSpPr>
          <p:cNvPr id="6" name="Takeaway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960249" y="5872609"/>
            <a:ext cx="10849593" cy="532489"/>
            <a:chOff x="546516" y="5517332"/>
            <a:chExt cx="8064499" cy="505282"/>
          </a:xfrm>
        </p:grpSpPr>
        <p:sp>
          <p:nvSpPr>
            <p:cNvPr id="7" name="Rechteck 2"/>
            <p:cNvSpPr/>
            <p:nvPr>
              <p:custDataLst>
                <p:tags r:id="rId19"/>
              </p:custDataLst>
            </p:nvPr>
          </p:nvSpPr>
          <p:spPr>
            <a:xfrm>
              <a:off x="546516" y="5518558"/>
              <a:ext cx="647874" cy="504056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b="1" dirty="0" smtClean="0"/>
                <a:t>///</a:t>
              </a:r>
            </a:p>
          </p:txBody>
        </p:sp>
        <p:sp>
          <p:nvSpPr>
            <p:cNvPr id="8" name="Rechteck 3"/>
            <p:cNvSpPr/>
            <p:nvPr>
              <p:custDataLst>
                <p:tags r:id="rId20"/>
              </p:custDataLst>
            </p:nvPr>
          </p:nvSpPr>
          <p:spPr>
            <a:xfrm>
              <a:off x="1202270" y="5517332"/>
              <a:ext cx="7408745" cy="504056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400" b="1" dirty="0" smtClean="0">
                  <a:solidFill>
                    <a:schemeClr val="tx1"/>
                  </a:solidFill>
                </a:rPr>
                <a:t>Welcher Algorithmus liefert die besseren Ergebnisse?</a:t>
              </a:r>
            </a:p>
          </p:txBody>
        </p:sp>
      </p:grpSp>
      <p:grpSp>
        <p:nvGrpSpPr>
          <p:cNvPr id="9" name="Magnifier (2)"/>
          <p:cNvGrpSpPr/>
          <p:nvPr>
            <p:custDataLst>
              <p:tags r:id="rId2"/>
            </p:custDataLst>
          </p:nvPr>
        </p:nvGrpSpPr>
        <p:grpSpPr>
          <a:xfrm>
            <a:off x="8185819" y="1798242"/>
            <a:ext cx="1712913" cy="1735138"/>
            <a:chOff x="3709988" y="2565401"/>
            <a:chExt cx="1712913" cy="1735138"/>
          </a:xfrm>
        </p:grpSpPr>
        <p:sp>
          <p:nvSpPr>
            <p:cNvPr id="10" name="Freeform 1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268788" y="2782888"/>
              <a:ext cx="612775" cy="563563"/>
            </a:xfrm>
            <a:custGeom>
              <a:avLst/>
              <a:gdLst>
                <a:gd name="T0" fmla="*/ 427 w 1542"/>
                <a:gd name="T1" fmla="*/ 2 h 1420"/>
                <a:gd name="T2" fmla="*/ 602 w 1542"/>
                <a:gd name="T3" fmla="*/ 25 h 1420"/>
                <a:gd name="T4" fmla="*/ 770 w 1542"/>
                <a:gd name="T5" fmla="*/ 73 h 1420"/>
                <a:gd name="T6" fmla="*/ 929 w 1542"/>
                <a:gd name="T7" fmla="*/ 145 h 1420"/>
                <a:gd name="T8" fmla="*/ 1078 w 1542"/>
                <a:gd name="T9" fmla="*/ 241 h 1420"/>
                <a:gd name="T10" fmla="*/ 1209 w 1542"/>
                <a:gd name="T11" fmla="*/ 359 h 1420"/>
                <a:gd name="T12" fmla="*/ 1322 w 1542"/>
                <a:gd name="T13" fmla="*/ 495 h 1420"/>
                <a:gd name="T14" fmla="*/ 1412 w 1542"/>
                <a:gd name="T15" fmla="*/ 645 h 1420"/>
                <a:gd name="T16" fmla="*/ 1480 w 1542"/>
                <a:gd name="T17" fmla="*/ 807 h 1420"/>
                <a:gd name="T18" fmla="*/ 1524 w 1542"/>
                <a:gd name="T19" fmla="*/ 979 h 1420"/>
                <a:gd name="T20" fmla="*/ 1542 w 1542"/>
                <a:gd name="T21" fmla="*/ 1158 h 1420"/>
                <a:gd name="T22" fmla="*/ 1534 w 1542"/>
                <a:gd name="T23" fmla="*/ 1339 h 1420"/>
                <a:gd name="T24" fmla="*/ 1518 w 1542"/>
                <a:gd name="T25" fmla="*/ 1380 h 1420"/>
                <a:gd name="T26" fmla="*/ 1487 w 1542"/>
                <a:gd name="T27" fmla="*/ 1409 h 1420"/>
                <a:gd name="T28" fmla="*/ 1444 w 1542"/>
                <a:gd name="T29" fmla="*/ 1420 h 1420"/>
                <a:gd name="T30" fmla="*/ 1411 w 1542"/>
                <a:gd name="T31" fmla="*/ 1413 h 1420"/>
                <a:gd name="T32" fmla="*/ 1374 w 1542"/>
                <a:gd name="T33" fmla="*/ 1385 h 1420"/>
                <a:gd name="T34" fmla="*/ 1355 w 1542"/>
                <a:gd name="T35" fmla="*/ 1343 h 1420"/>
                <a:gd name="T36" fmla="*/ 1361 w 1542"/>
                <a:gd name="T37" fmla="*/ 1235 h 1420"/>
                <a:gd name="T38" fmla="*/ 1354 w 1542"/>
                <a:gd name="T39" fmla="*/ 1068 h 1420"/>
                <a:gd name="T40" fmla="*/ 1321 w 1542"/>
                <a:gd name="T41" fmla="*/ 907 h 1420"/>
                <a:gd name="T42" fmla="*/ 1265 w 1542"/>
                <a:gd name="T43" fmla="*/ 756 h 1420"/>
                <a:gd name="T44" fmla="*/ 1185 w 1542"/>
                <a:gd name="T45" fmla="*/ 616 h 1420"/>
                <a:gd name="T46" fmla="*/ 1085 w 1542"/>
                <a:gd name="T47" fmla="*/ 489 h 1420"/>
                <a:gd name="T48" fmla="*/ 963 w 1542"/>
                <a:gd name="T49" fmla="*/ 382 h 1420"/>
                <a:gd name="T50" fmla="*/ 826 w 1542"/>
                <a:gd name="T51" fmla="*/ 295 h 1420"/>
                <a:gd name="T52" fmla="*/ 677 w 1542"/>
                <a:gd name="T53" fmla="*/ 233 h 1420"/>
                <a:gd name="T54" fmla="*/ 521 w 1542"/>
                <a:gd name="T55" fmla="*/ 195 h 1420"/>
                <a:gd name="T56" fmla="*/ 358 w 1542"/>
                <a:gd name="T57" fmla="*/ 182 h 1420"/>
                <a:gd name="T58" fmla="*/ 193 w 1542"/>
                <a:gd name="T59" fmla="*/ 194 h 1420"/>
                <a:gd name="T60" fmla="*/ 86 w 1542"/>
                <a:gd name="T61" fmla="*/ 213 h 1420"/>
                <a:gd name="T62" fmla="*/ 42 w 1542"/>
                <a:gd name="T63" fmla="*/ 199 h 1420"/>
                <a:gd name="T64" fmla="*/ 10 w 1542"/>
                <a:gd name="T65" fmla="*/ 166 h 1420"/>
                <a:gd name="T66" fmla="*/ 0 w 1542"/>
                <a:gd name="T67" fmla="*/ 118 h 1420"/>
                <a:gd name="T68" fmla="*/ 13 w 1542"/>
                <a:gd name="T69" fmla="*/ 74 h 1420"/>
                <a:gd name="T70" fmla="*/ 46 w 1542"/>
                <a:gd name="T71" fmla="*/ 42 h 1420"/>
                <a:gd name="T72" fmla="*/ 157 w 1542"/>
                <a:gd name="T73" fmla="*/ 16 h 1420"/>
                <a:gd name="T74" fmla="*/ 338 w 1542"/>
                <a:gd name="T75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42" h="1420">
                  <a:moveTo>
                    <a:pt x="338" y="0"/>
                  </a:moveTo>
                  <a:lnTo>
                    <a:pt x="427" y="2"/>
                  </a:lnTo>
                  <a:lnTo>
                    <a:pt x="514" y="10"/>
                  </a:lnTo>
                  <a:lnTo>
                    <a:pt x="602" y="25"/>
                  </a:lnTo>
                  <a:lnTo>
                    <a:pt x="687" y="46"/>
                  </a:lnTo>
                  <a:lnTo>
                    <a:pt x="770" y="73"/>
                  </a:lnTo>
                  <a:lnTo>
                    <a:pt x="851" y="106"/>
                  </a:lnTo>
                  <a:lnTo>
                    <a:pt x="929" y="145"/>
                  </a:lnTo>
                  <a:lnTo>
                    <a:pt x="1005" y="190"/>
                  </a:lnTo>
                  <a:lnTo>
                    <a:pt x="1078" y="241"/>
                  </a:lnTo>
                  <a:lnTo>
                    <a:pt x="1146" y="296"/>
                  </a:lnTo>
                  <a:lnTo>
                    <a:pt x="1209" y="359"/>
                  </a:lnTo>
                  <a:lnTo>
                    <a:pt x="1269" y="424"/>
                  </a:lnTo>
                  <a:lnTo>
                    <a:pt x="1322" y="495"/>
                  </a:lnTo>
                  <a:lnTo>
                    <a:pt x="1370" y="568"/>
                  </a:lnTo>
                  <a:lnTo>
                    <a:pt x="1412" y="645"/>
                  </a:lnTo>
                  <a:lnTo>
                    <a:pt x="1449" y="725"/>
                  </a:lnTo>
                  <a:lnTo>
                    <a:pt x="1480" y="807"/>
                  </a:lnTo>
                  <a:lnTo>
                    <a:pt x="1504" y="893"/>
                  </a:lnTo>
                  <a:lnTo>
                    <a:pt x="1524" y="979"/>
                  </a:lnTo>
                  <a:lnTo>
                    <a:pt x="1536" y="1067"/>
                  </a:lnTo>
                  <a:lnTo>
                    <a:pt x="1542" y="1158"/>
                  </a:lnTo>
                  <a:lnTo>
                    <a:pt x="1541" y="1248"/>
                  </a:lnTo>
                  <a:lnTo>
                    <a:pt x="1534" y="1339"/>
                  </a:lnTo>
                  <a:lnTo>
                    <a:pt x="1529" y="1361"/>
                  </a:lnTo>
                  <a:lnTo>
                    <a:pt x="1518" y="1380"/>
                  </a:lnTo>
                  <a:lnTo>
                    <a:pt x="1504" y="1397"/>
                  </a:lnTo>
                  <a:lnTo>
                    <a:pt x="1487" y="1409"/>
                  </a:lnTo>
                  <a:lnTo>
                    <a:pt x="1467" y="1417"/>
                  </a:lnTo>
                  <a:lnTo>
                    <a:pt x="1444" y="1420"/>
                  </a:lnTo>
                  <a:lnTo>
                    <a:pt x="1434" y="1418"/>
                  </a:lnTo>
                  <a:lnTo>
                    <a:pt x="1411" y="1413"/>
                  </a:lnTo>
                  <a:lnTo>
                    <a:pt x="1390" y="1401"/>
                  </a:lnTo>
                  <a:lnTo>
                    <a:pt x="1374" y="1385"/>
                  </a:lnTo>
                  <a:lnTo>
                    <a:pt x="1362" y="1365"/>
                  </a:lnTo>
                  <a:lnTo>
                    <a:pt x="1355" y="1343"/>
                  </a:lnTo>
                  <a:lnTo>
                    <a:pt x="1354" y="1319"/>
                  </a:lnTo>
                  <a:lnTo>
                    <a:pt x="1361" y="1235"/>
                  </a:lnTo>
                  <a:lnTo>
                    <a:pt x="1361" y="1151"/>
                  </a:lnTo>
                  <a:lnTo>
                    <a:pt x="1354" y="1068"/>
                  </a:lnTo>
                  <a:lnTo>
                    <a:pt x="1341" y="987"/>
                  </a:lnTo>
                  <a:lnTo>
                    <a:pt x="1321" y="907"/>
                  </a:lnTo>
                  <a:lnTo>
                    <a:pt x="1296" y="830"/>
                  </a:lnTo>
                  <a:lnTo>
                    <a:pt x="1265" y="756"/>
                  </a:lnTo>
                  <a:lnTo>
                    <a:pt x="1228" y="684"/>
                  </a:lnTo>
                  <a:lnTo>
                    <a:pt x="1185" y="616"/>
                  </a:lnTo>
                  <a:lnTo>
                    <a:pt x="1138" y="551"/>
                  </a:lnTo>
                  <a:lnTo>
                    <a:pt x="1085" y="489"/>
                  </a:lnTo>
                  <a:lnTo>
                    <a:pt x="1025" y="432"/>
                  </a:lnTo>
                  <a:lnTo>
                    <a:pt x="963" y="382"/>
                  </a:lnTo>
                  <a:lnTo>
                    <a:pt x="896" y="335"/>
                  </a:lnTo>
                  <a:lnTo>
                    <a:pt x="826" y="295"/>
                  </a:lnTo>
                  <a:lnTo>
                    <a:pt x="753" y="260"/>
                  </a:lnTo>
                  <a:lnTo>
                    <a:pt x="677" y="233"/>
                  </a:lnTo>
                  <a:lnTo>
                    <a:pt x="601" y="211"/>
                  </a:lnTo>
                  <a:lnTo>
                    <a:pt x="521" y="195"/>
                  </a:lnTo>
                  <a:lnTo>
                    <a:pt x="440" y="185"/>
                  </a:lnTo>
                  <a:lnTo>
                    <a:pt x="358" y="182"/>
                  </a:lnTo>
                  <a:lnTo>
                    <a:pt x="276" y="185"/>
                  </a:lnTo>
                  <a:lnTo>
                    <a:pt x="193" y="194"/>
                  </a:lnTo>
                  <a:lnTo>
                    <a:pt x="110" y="210"/>
                  </a:lnTo>
                  <a:lnTo>
                    <a:pt x="86" y="213"/>
                  </a:lnTo>
                  <a:lnTo>
                    <a:pt x="63" y="209"/>
                  </a:lnTo>
                  <a:lnTo>
                    <a:pt x="42" y="199"/>
                  </a:lnTo>
                  <a:lnTo>
                    <a:pt x="24" y="185"/>
                  </a:lnTo>
                  <a:lnTo>
                    <a:pt x="10" y="166"/>
                  </a:lnTo>
                  <a:lnTo>
                    <a:pt x="1" y="142"/>
                  </a:lnTo>
                  <a:lnTo>
                    <a:pt x="0" y="118"/>
                  </a:lnTo>
                  <a:lnTo>
                    <a:pt x="2" y="95"/>
                  </a:lnTo>
                  <a:lnTo>
                    <a:pt x="13" y="74"/>
                  </a:lnTo>
                  <a:lnTo>
                    <a:pt x="28" y="56"/>
                  </a:lnTo>
                  <a:lnTo>
                    <a:pt x="46" y="42"/>
                  </a:lnTo>
                  <a:lnTo>
                    <a:pt x="69" y="33"/>
                  </a:lnTo>
                  <a:lnTo>
                    <a:pt x="157" y="16"/>
                  </a:lnTo>
                  <a:lnTo>
                    <a:pt x="248" y="5"/>
                  </a:lnTo>
                  <a:lnTo>
                    <a:pt x="33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4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3900488" y="3065463"/>
              <a:ext cx="808038" cy="728663"/>
            </a:xfrm>
            <a:custGeom>
              <a:avLst/>
              <a:gdLst>
                <a:gd name="T0" fmla="*/ 975 w 2038"/>
                <a:gd name="T1" fmla="*/ 788 h 1835"/>
                <a:gd name="T2" fmla="*/ 898 w 2038"/>
                <a:gd name="T3" fmla="*/ 816 h 1835"/>
                <a:gd name="T4" fmla="*/ 836 w 2038"/>
                <a:gd name="T5" fmla="*/ 869 h 1835"/>
                <a:gd name="T6" fmla="*/ 795 w 2038"/>
                <a:gd name="T7" fmla="*/ 940 h 1835"/>
                <a:gd name="T8" fmla="*/ 780 w 2038"/>
                <a:gd name="T9" fmla="*/ 1022 h 1835"/>
                <a:gd name="T10" fmla="*/ 795 w 2038"/>
                <a:gd name="T11" fmla="*/ 1106 h 1835"/>
                <a:gd name="T12" fmla="*/ 836 w 2038"/>
                <a:gd name="T13" fmla="*/ 1177 h 1835"/>
                <a:gd name="T14" fmla="*/ 898 w 2038"/>
                <a:gd name="T15" fmla="*/ 1228 h 1835"/>
                <a:gd name="T16" fmla="*/ 975 w 2038"/>
                <a:gd name="T17" fmla="*/ 1258 h 1835"/>
                <a:gd name="T18" fmla="*/ 1061 w 2038"/>
                <a:gd name="T19" fmla="*/ 1258 h 1835"/>
                <a:gd name="T20" fmla="*/ 1138 w 2038"/>
                <a:gd name="T21" fmla="*/ 1228 h 1835"/>
                <a:gd name="T22" fmla="*/ 1201 w 2038"/>
                <a:gd name="T23" fmla="*/ 1177 h 1835"/>
                <a:gd name="T24" fmla="*/ 1242 w 2038"/>
                <a:gd name="T25" fmla="*/ 1106 h 1835"/>
                <a:gd name="T26" fmla="*/ 1256 w 2038"/>
                <a:gd name="T27" fmla="*/ 1022 h 1835"/>
                <a:gd name="T28" fmla="*/ 1242 w 2038"/>
                <a:gd name="T29" fmla="*/ 940 h 1835"/>
                <a:gd name="T30" fmla="*/ 1201 w 2038"/>
                <a:gd name="T31" fmla="*/ 869 h 1835"/>
                <a:gd name="T32" fmla="*/ 1138 w 2038"/>
                <a:gd name="T33" fmla="*/ 816 h 1835"/>
                <a:gd name="T34" fmla="*/ 1061 w 2038"/>
                <a:gd name="T35" fmla="*/ 788 h 1835"/>
                <a:gd name="T36" fmla="*/ 895 w 2038"/>
                <a:gd name="T37" fmla="*/ 0 h 1835"/>
                <a:gd name="T38" fmla="*/ 1153 w 2038"/>
                <a:gd name="T39" fmla="*/ 3 h 1835"/>
                <a:gd name="T40" fmla="*/ 1167 w 2038"/>
                <a:gd name="T41" fmla="*/ 21 h 1835"/>
                <a:gd name="T42" fmla="*/ 1295 w 2038"/>
                <a:gd name="T43" fmla="*/ 253 h 1835"/>
                <a:gd name="T44" fmla="*/ 1435 w 2038"/>
                <a:gd name="T45" fmla="*/ 319 h 1835"/>
                <a:gd name="T46" fmla="*/ 1630 w 2038"/>
                <a:gd name="T47" fmla="*/ 205 h 1835"/>
                <a:gd name="T48" fmla="*/ 1652 w 2038"/>
                <a:gd name="T49" fmla="*/ 213 h 1835"/>
                <a:gd name="T50" fmla="*/ 1832 w 2038"/>
                <a:gd name="T51" fmla="*/ 397 h 1835"/>
                <a:gd name="T52" fmla="*/ 1831 w 2038"/>
                <a:gd name="T53" fmla="*/ 421 h 1835"/>
                <a:gd name="T54" fmla="*/ 1755 w 2038"/>
                <a:gd name="T55" fmla="*/ 673 h 1835"/>
                <a:gd name="T56" fmla="*/ 1808 w 2038"/>
                <a:gd name="T57" fmla="*/ 821 h 1835"/>
                <a:gd name="T58" fmla="*/ 2027 w 2038"/>
                <a:gd name="T59" fmla="*/ 878 h 1835"/>
                <a:gd name="T60" fmla="*/ 2038 w 2038"/>
                <a:gd name="T61" fmla="*/ 900 h 1835"/>
                <a:gd name="T62" fmla="*/ 2035 w 2038"/>
                <a:gd name="T63" fmla="*/ 1158 h 1835"/>
                <a:gd name="T64" fmla="*/ 2018 w 2038"/>
                <a:gd name="T65" fmla="*/ 1173 h 1835"/>
                <a:gd name="T66" fmla="*/ 1786 w 2038"/>
                <a:gd name="T67" fmla="*/ 1299 h 1835"/>
                <a:gd name="T68" fmla="*/ 1719 w 2038"/>
                <a:gd name="T69" fmla="*/ 1440 h 1835"/>
                <a:gd name="T70" fmla="*/ 1833 w 2038"/>
                <a:gd name="T71" fmla="*/ 1636 h 1835"/>
                <a:gd name="T72" fmla="*/ 1827 w 2038"/>
                <a:gd name="T73" fmla="*/ 1658 h 1835"/>
                <a:gd name="T74" fmla="*/ 1649 w 2038"/>
                <a:gd name="T75" fmla="*/ 1779 h 1835"/>
                <a:gd name="T76" fmla="*/ 1435 w 2038"/>
                <a:gd name="T77" fmla="*/ 1725 h 1835"/>
                <a:gd name="T78" fmla="*/ 1295 w 2038"/>
                <a:gd name="T79" fmla="*/ 1793 h 1835"/>
                <a:gd name="T80" fmla="*/ 1214 w 2038"/>
                <a:gd name="T81" fmla="*/ 1835 h 1835"/>
                <a:gd name="T82" fmla="*/ 1010 w 2038"/>
                <a:gd name="T83" fmla="*/ 1811 h 1835"/>
                <a:gd name="T84" fmla="*/ 815 w 2038"/>
                <a:gd name="T85" fmla="*/ 1758 h 1835"/>
                <a:gd name="T86" fmla="*/ 633 w 2038"/>
                <a:gd name="T87" fmla="*/ 1677 h 1835"/>
                <a:gd name="T88" fmla="*/ 466 w 2038"/>
                <a:gd name="T89" fmla="*/ 1570 h 1835"/>
                <a:gd name="T90" fmla="*/ 317 w 2038"/>
                <a:gd name="T91" fmla="*/ 1441 h 1835"/>
                <a:gd name="T92" fmla="*/ 281 w 2038"/>
                <a:gd name="T93" fmla="*/ 1372 h 1835"/>
                <a:gd name="T94" fmla="*/ 228 w 2038"/>
                <a:gd name="T95" fmla="*/ 1224 h 1835"/>
                <a:gd name="T96" fmla="*/ 78 w 2038"/>
                <a:gd name="T97" fmla="*/ 1113 h 1835"/>
                <a:gd name="T98" fmla="*/ 0 w 2038"/>
                <a:gd name="T99" fmla="*/ 930 h 1835"/>
                <a:gd name="T100" fmla="*/ 3 w 2038"/>
                <a:gd name="T101" fmla="*/ 888 h 1835"/>
                <a:gd name="T102" fmla="*/ 20 w 2038"/>
                <a:gd name="T103" fmla="*/ 873 h 1835"/>
                <a:gd name="T104" fmla="*/ 252 w 2038"/>
                <a:gd name="T105" fmla="*/ 745 h 1835"/>
                <a:gd name="T106" fmla="*/ 319 w 2038"/>
                <a:gd name="T107" fmla="*/ 604 h 1835"/>
                <a:gd name="T108" fmla="*/ 203 w 2038"/>
                <a:gd name="T109" fmla="*/ 409 h 1835"/>
                <a:gd name="T110" fmla="*/ 211 w 2038"/>
                <a:gd name="T111" fmla="*/ 387 h 1835"/>
                <a:gd name="T112" fmla="*/ 395 w 2038"/>
                <a:gd name="T113" fmla="*/ 206 h 1835"/>
                <a:gd name="T114" fmla="*/ 418 w 2038"/>
                <a:gd name="T115" fmla="*/ 209 h 1835"/>
                <a:gd name="T116" fmla="*/ 670 w 2038"/>
                <a:gd name="T117" fmla="*/ 283 h 1835"/>
                <a:gd name="T118" fmla="*/ 819 w 2038"/>
                <a:gd name="T119" fmla="*/ 230 h 1835"/>
                <a:gd name="T120" fmla="*/ 874 w 2038"/>
                <a:gd name="T121" fmla="*/ 11 h 1835"/>
                <a:gd name="T122" fmla="*/ 895 w 2038"/>
                <a:gd name="T123" fmla="*/ 0 h 1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38" h="1835">
                  <a:moveTo>
                    <a:pt x="1019" y="784"/>
                  </a:moveTo>
                  <a:lnTo>
                    <a:pt x="975" y="788"/>
                  </a:lnTo>
                  <a:lnTo>
                    <a:pt x="935" y="799"/>
                  </a:lnTo>
                  <a:lnTo>
                    <a:pt x="898" y="816"/>
                  </a:lnTo>
                  <a:lnTo>
                    <a:pt x="865" y="840"/>
                  </a:lnTo>
                  <a:lnTo>
                    <a:pt x="836" y="869"/>
                  </a:lnTo>
                  <a:lnTo>
                    <a:pt x="813" y="902"/>
                  </a:lnTo>
                  <a:lnTo>
                    <a:pt x="795" y="940"/>
                  </a:lnTo>
                  <a:lnTo>
                    <a:pt x="784" y="980"/>
                  </a:lnTo>
                  <a:lnTo>
                    <a:pt x="780" y="1022"/>
                  </a:lnTo>
                  <a:lnTo>
                    <a:pt x="784" y="1066"/>
                  </a:lnTo>
                  <a:lnTo>
                    <a:pt x="795" y="1106"/>
                  </a:lnTo>
                  <a:lnTo>
                    <a:pt x="813" y="1143"/>
                  </a:lnTo>
                  <a:lnTo>
                    <a:pt x="836" y="1177"/>
                  </a:lnTo>
                  <a:lnTo>
                    <a:pt x="865" y="1206"/>
                  </a:lnTo>
                  <a:lnTo>
                    <a:pt x="898" y="1228"/>
                  </a:lnTo>
                  <a:lnTo>
                    <a:pt x="935" y="1247"/>
                  </a:lnTo>
                  <a:lnTo>
                    <a:pt x="975" y="1258"/>
                  </a:lnTo>
                  <a:lnTo>
                    <a:pt x="1019" y="1262"/>
                  </a:lnTo>
                  <a:lnTo>
                    <a:pt x="1061" y="1258"/>
                  </a:lnTo>
                  <a:lnTo>
                    <a:pt x="1101" y="1247"/>
                  </a:lnTo>
                  <a:lnTo>
                    <a:pt x="1138" y="1228"/>
                  </a:lnTo>
                  <a:lnTo>
                    <a:pt x="1171" y="1206"/>
                  </a:lnTo>
                  <a:lnTo>
                    <a:pt x="1201" y="1177"/>
                  </a:lnTo>
                  <a:lnTo>
                    <a:pt x="1224" y="1143"/>
                  </a:lnTo>
                  <a:lnTo>
                    <a:pt x="1242" y="1106"/>
                  </a:lnTo>
                  <a:lnTo>
                    <a:pt x="1252" y="1066"/>
                  </a:lnTo>
                  <a:lnTo>
                    <a:pt x="1256" y="1022"/>
                  </a:lnTo>
                  <a:lnTo>
                    <a:pt x="1252" y="980"/>
                  </a:lnTo>
                  <a:lnTo>
                    <a:pt x="1242" y="940"/>
                  </a:lnTo>
                  <a:lnTo>
                    <a:pt x="1224" y="902"/>
                  </a:lnTo>
                  <a:lnTo>
                    <a:pt x="1201" y="869"/>
                  </a:lnTo>
                  <a:lnTo>
                    <a:pt x="1171" y="840"/>
                  </a:lnTo>
                  <a:lnTo>
                    <a:pt x="1138" y="816"/>
                  </a:lnTo>
                  <a:lnTo>
                    <a:pt x="1101" y="799"/>
                  </a:lnTo>
                  <a:lnTo>
                    <a:pt x="1061" y="788"/>
                  </a:lnTo>
                  <a:lnTo>
                    <a:pt x="1019" y="784"/>
                  </a:lnTo>
                  <a:close/>
                  <a:moveTo>
                    <a:pt x="895" y="0"/>
                  </a:moveTo>
                  <a:lnTo>
                    <a:pt x="1142" y="0"/>
                  </a:lnTo>
                  <a:lnTo>
                    <a:pt x="1153" y="3"/>
                  </a:lnTo>
                  <a:lnTo>
                    <a:pt x="1162" y="11"/>
                  </a:lnTo>
                  <a:lnTo>
                    <a:pt x="1167" y="21"/>
                  </a:lnTo>
                  <a:lnTo>
                    <a:pt x="1219" y="230"/>
                  </a:lnTo>
                  <a:lnTo>
                    <a:pt x="1295" y="253"/>
                  </a:lnTo>
                  <a:lnTo>
                    <a:pt x="1366" y="283"/>
                  </a:lnTo>
                  <a:lnTo>
                    <a:pt x="1435" y="319"/>
                  </a:lnTo>
                  <a:lnTo>
                    <a:pt x="1618" y="209"/>
                  </a:lnTo>
                  <a:lnTo>
                    <a:pt x="1630" y="205"/>
                  </a:lnTo>
                  <a:lnTo>
                    <a:pt x="1642" y="206"/>
                  </a:lnTo>
                  <a:lnTo>
                    <a:pt x="1652" y="213"/>
                  </a:lnTo>
                  <a:lnTo>
                    <a:pt x="1827" y="387"/>
                  </a:lnTo>
                  <a:lnTo>
                    <a:pt x="1832" y="397"/>
                  </a:lnTo>
                  <a:lnTo>
                    <a:pt x="1833" y="409"/>
                  </a:lnTo>
                  <a:lnTo>
                    <a:pt x="1831" y="421"/>
                  </a:lnTo>
                  <a:lnTo>
                    <a:pt x="1719" y="604"/>
                  </a:lnTo>
                  <a:lnTo>
                    <a:pt x="1755" y="673"/>
                  </a:lnTo>
                  <a:lnTo>
                    <a:pt x="1786" y="745"/>
                  </a:lnTo>
                  <a:lnTo>
                    <a:pt x="1808" y="821"/>
                  </a:lnTo>
                  <a:lnTo>
                    <a:pt x="2018" y="873"/>
                  </a:lnTo>
                  <a:lnTo>
                    <a:pt x="2027" y="878"/>
                  </a:lnTo>
                  <a:lnTo>
                    <a:pt x="2035" y="888"/>
                  </a:lnTo>
                  <a:lnTo>
                    <a:pt x="2038" y="900"/>
                  </a:lnTo>
                  <a:lnTo>
                    <a:pt x="2038" y="1146"/>
                  </a:lnTo>
                  <a:lnTo>
                    <a:pt x="2035" y="1158"/>
                  </a:lnTo>
                  <a:lnTo>
                    <a:pt x="2027" y="1167"/>
                  </a:lnTo>
                  <a:lnTo>
                    <a:pt x="2018" y="1173"/>
                  </a:lnTo>
                  <a:lnTo>
                    <a:pt x="1808" y="1224"/>
                  </a:lnTo>
                  <a:lnTo>
                    <a:pt x="1786" y="1299"/>
                  </a:lnTo>
                  <a:lnTo>
                    <a:pt x="1755" y="1372"/>
                  </a:lnTo>
                  <a:lnTo>
                    <a:pt x="1719" y="1440"/>
                  </a:lnTo>
                  <a:lnTo>
                    <a:pt x="1831" y="1625"/>
                  </a:lnTo>
                  <a:lnTo>
                    <a:pt x="1833" y="1636"/>
                  </a:lnTo>
                  <a:lnTo>
                    <a:pt x="1832" y="1648"/>
                  </a:lnTo>
                  <a:lnTo>
                    <a:pt x="1827" y="1658"/>
                  </a:lnTo>
                  <a:lnTo>
                    <a:pt x="1732" y="1751"/>
                  </a:lnTo>
                  <a:lnTo>
                    <a:pt x="1649" y="1779"/>
                  </a:lnTo>
                  <a:lnTo>
                    <a:pt x="1563" y="1803"/>
                  </a:lnTo>
                  <a:lnTo>
                    <a:pt x="1435" y="1725"/>
                  </a:lnTo>
                  <a:lnTo>
                    <a:pt x="1366" y="1762"/>
                  </a:lnTo>
                  <a:lnTo>
                    <a:pt x="1295" y="1793"/>
                  </a:lnTo>
                  <a:lnTo>
                    <a:pt x="1219" y="1815"/>
                  </a:lnTo>
                  <a:lnTo>
                    <a:pt x="1214" y="1835"/>
                  </a:lnTo>
                  <a:lnTo>
                    <a:pt x="1110" y="1827"/>
                  </a:lnTo>
                  <a:lnTo>
                    <a:pt x="1010" y="1811"/>
                  </a:lnTo>
                  <a:lnTo>
                    <a:pt x="910" y="1789"/>
                  </a:lnTo>
                  <a:lnTo>
                    <a:pt x="815" y="1758"/>
                  </a:lnTo>
                  <a:lnTo>
                    <a:pt x="722" y="1721"/>
                  </a:lnTo>
                  <a:lnTo>
                    <a:pt x="633" y="1677"/>
                  </a:lnTo>
                  <a:lnTo>
                    <a:pt x="548" y="1626"/>
                  </a:lnTo>
                  <a:lnTo>
                    <a:pt x="466" y="1570"/>
                  </a:lnTo>
                  <a:lnTo>
                    <a:pt x="390" y="1508"/>
                  </a:lnTo>
                  <a:lnTo>
                    <a:pt x="317" y="1441"/>
                  </a:lnTo>
                  <a:lnTo>
                    <a:pt x="319" y="1440"/>
                  </a:lnTo>
                  <a:lnTo>
                    <a:pt x="281" y="1372"/>
                  </a:lnTo>
                  <a:lnTo>
                    <a:pt x="252" y="1299"/>
                  </a:lnTo>
                  <a:lnTo>
                    <a:pt x="228" y="1224"/>
                  </a:lnTo>
                  <a:lnTo>
                    <a:pt x="126" y="1199"/>
                  </a:lnTo>
                  <a:lnTo>
                    <a:pt x="78" y="1113"/>
                  </a:lnTo>
                  <a:lnTo>
                    <a:pt x="36" y="1023"/>
                  </a:lnTo>
                  <a:lnTo>
                    <a:pt x="0" y="930"/>
                  </a:lnTo>
                  <a:lnTo>
                    <a:pt x="0" y="900"/>
                  </a:lnTo>
                  <a:lnTo>
                    <a:pt x="3" y="888"/>
                  </a:lnTo>
                  <a:lnTo>
                    <a:pt x="9" y="878"/>
                  </a:lnTo>
                  <a:lnTo>
                    <a:pt x="20" y="873"/>
                  </a:lnTo>
                  <a:lnTo>
                    <a:pt x="228" y="821"/>
                  </a:lnTo>
                  <a:lnTo>
                    <a:pt x="252" y="745"/>
                  </a:lnTo>
                  <a:lnTo>
                    <a:pt x="281" y="673"/>
                  </a:lnTo>
                  <a:lnTo>
                    <a:pt x="319" y="604"/>
                  </a:lnTo>
                  <a:lnTo>
                    <a:pt x="207" y="421"/>
                  </a:lnTo>
                  <a:lnTo>
                    <a:pt x="203" y="409"/>
                  </a:lnTo>
                  <a:lnTo>
                    <a:pt x="204" y="397"/>
                  </a:lnTo>
                  <a:lnTo>
                    <a:pt x="211" y="387"/>
                  </a:lnTo>
                  <a:lnTo>
                    <a:pt x="385" y="213"/>
                  </a:lnTo>
                  <a:lnTo>
                    <a:pt x="395" y="206"/>
                  </a:lnTo>
                  <a:lnTo>
                    <a:pt x="407" y="205"/>
                  </a:lnTo>
                  <a:lnTo>
                    <a:pt x="418" y="209"/>
                  </a:lnTo>
                  <a:lnTo>
                    <a:pt x="602" y="319"/>
                  </a:lnTo>
                  <a:lnTo>
                    <a:pt x="670" y="283"/>
                  </a:lnTo>
                  <a:lnTo>
                    <a:pt x="743" y="253"/>
                  </a:lnTo>
                  <a:lnTo>
                    <a:pt x="819" y="230"/>
                  </a:lnTo>
                  <a:lnTo>
                    <a:pt x="869" y="21"/>
                  </a:lnTo>
                  <a:lnTo>
                    <a:pt x="874" y="11"/>
                  </a:lnTo>
                  <a:lnTo>
                    <a:pt x="884" y="3"/>
                  </a:lnTo>
                  <a:lnTo>
                    <a:pt x="89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5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3709988" y="2565401"/>
              <a:ext cx="1385888" cy="1390650"/>
            </a:xfrm>
            <a:custGeom>
              <a:avLst/>
              <a:gdLst>
                <a:gd name="T0" fmla="*/ 1533 w 3493"/>
                <a:gd name="T1" fmla="*/ 380 h 3505"/>
                <a:gd name="T2" fmla="*/ 1232 w 3493"/>
                <a:gd name="T3" fmla="*/ 463 h 3505"/>
                <a:gd name="T4" fmla="*/ 963 w 3493"/>
                <a:gd name="T5" fmla="*/ 608 h 3505"/>
                <a:gd name="T6" fmla="*/ 733 w 3493"/>
                <a:gd name="T7" fmla="*/ 807 h 3505"/>
                <a:gd name="T8" fmla="*/ 551 w 3493"/>
                <a:gd name="T9" fmla="*/ 1052 h 3505"/>
                <a:gd name="T10" fmla="*/ 427 w 3493"/>
                <a:gd name="T11" fmla="*/ 1335 h 3505"/>
                <a:gd name="T12" fmla="*/ 366 w 3493"/>
                <a:gd name="T13" fmla="*/ 1645 h 3505"/>
                <a:gd name="T14" fmla="*/ 379 w 3493"/>
                <a:gd name="T15" fmla="*/ 1968 h 3505"/>
                <a:gd name="T16" fmla="*/ 461 w 3493"/>
                <a:gd name="T17" fmla="*/ 2269 h 3505"/>
                <a:gd name="T18" fmla="*/ 606 w 3493"/>
                <a:gd name="T19" fmla="*/ 2539 h 3505"/>
                <a:gd name="T20" fmla="*/ 805 w 3493"/>
                <a:gd name="T21" fmla="*/ 2769 h 3505"/>
                <a:gd name="T22" fmla="*/ 1049 w 3493"/>
                <a:gd name="T23" fmla="*/ 2952 h 3505"/>
                <a:gd name="T24" fmla="*/ 1329 w 3493"/>
                <a:gd name="T25" fmla="*/ 3078 h 3505"/>
                <a:gd name="T26" fmla="*/ 1638 w 3493"/>
                <a:gd name="T27" fmla="*/ 3138 h 3505"/>
                <a:gd name="T28" fmla="*/ 1960 w 3493"/>
                <a:gd name="T29" fmla="*/ 3126 h 3505"/>
                <a:gd name="T30" fmla="*/ 2261 w 3493"/>
                <a:gd name="T31" fmla="*/ 3042 h 3505"/>
                <a:gd name="T32" fmla="*/ 2530 w 3493"/>
                <a:gd name="T33" fmla="*/ 2897 h 3505"/>
                <a:gd name="T34" fmla="*/ 2760 w 3493"/>
                <a:gd name="T35" fmla="*/ 2699 h 3505"/>
                <a:gd name="T36" fmla="*/ 2942 w 3493"/>
                <a:gd name="T37" fmla="*/ 2454 h 3505"/>
                <a:gd name="T38" fmla="*/ 3066 w 3493"/>
                <a:gd name="T39" fmla="*/ 2172 h 3505"/>
                <a:gd name="T40" fmla="*/ 3126 w 3493"/>
                <a:gd name="T41" fmla="*/ 1862 h 3505"/>
                <a:gd name="T42" fmla="*/ 3114 w 3493"/>
                <a:gd name="T43" fmla="*/ 1538 h 3505"/>
                <a:gd name="T44" fmla="*/ 3032 w 3493"/>
                <a:gd name="T45" fmla="*/ 1236 h 3505"/>
                <a:gd name="T46" fmla="*/ 2887 w 3493"/>
                <a:gd name="T47" fmla="*/ 966 h 3505"/>
                <a:gd name="T48" fmla="*/ 2688 w 3493"/>
                <a:gd name="T49" fmla="*/ 736 h 3505"/>
                <a:gd name="T50" fmla="*/ 2444 w 3493"/>
                <a:gd name="T51" fmla="*/ 553 h 3505"/>
                <a:gd name="T52" fmla="*/ 2164 w 3493"/>
                <a:gd name="T53" fmla="*/ 428 h 3505"/>
                <a:gd name="T54" fmla="*/ 1854 w 3493"/>
                <a:gd name="T55" fmla="*/ 368 h 3505"/>
                <a:gd name="T56" fmla="*/ 1866 w 3493"/>
                <a:gd name="T57" fmla="*/ 4 h 3505"/>
                <a:gd name="T58" fmla="*/ 2211 w 3493"/>
                <a:gd name="T59" fmla="*/ 64 h 3505"/>
                <a:gd name="T60" fmla="*/ 2528 w 3493"/>
                <a:gd name="T61" fmla="*/ 186 h 3505"/>
                <a:gd name="T62" fmla="*/ 2813 w 3493"/>
                <a:gd name="T63" fmla="*/ 366 h 3505"/>
                <a:gd name="T64" fmla="*/ 3057 w 3493"/>
                <a:gd name="T65" fmla="*/ 596 h 3505"/>
                <a:gd name="T66" fmla="*/ 3255 w 3493"/>
                <a:gd name="T67" fmla="*/ 869 h 3505"/>
                <a:gd name="T68" fmla="*/ 3397 w 3493"/>
                <a:gd name="T69" fmla="*/ 1177 h 3505"/>
                <a:gd name="T70" fmla="*/ 3478 w 3493"/>
                <a:gd name="T71" fmla="*/ 1516 h 3505"/>
                <a:gd name="T72" fmla="*/ 3489 w 3493"/>
                <a:gd name="T73" fmla="*/ 1872 h 3505"/>
                <a:gd name="T74" fmla="*/ 3431 w 3493"/>
                <a:gd name="T75" fmla="*/ 2218 h 3505"/>
                <a:gd name="T76" fmla="*/ 3308 w 3493"/>
                <a:gd name="T77" fmla="*/ 2538 h 3505"/>
                <a:gd name="T78" fmla="*/ 3129 w 3493"/>
                <a:gd name="T79" fmla="*/ 2822 h 3505"/>
                <a:gd name="T80" fmla="*/ 2899 w 3493"/>
                <a:gd name="T81" fmla="*/ 3069 h 3505"/>
                <a:gd name="T82" fmla="*/ 2627 w 3493"/>
                <a:gd name="T83" fmla="*/ 3266 h 3505"/>
                <a:gd name="T84" fmla="*/ 2320 w 3493"/>
                <a:gd name="T85" fmla="*/ 3408 h 3505"/>
                <a:gd name="T86" fmla="*/ 1983 w 3493"/>
                <a:gd name="T87" fmla="*/ 3489 h 3505"/>
                <a:gd name="T88" fmla="*/ 1627 w 3493"/>
                <a:gd name="T89" fmla="*/ 3501 h 3505"/>
                <a:gd name="T90" fmla="*/ 1282 w 3493"/>
                <a:gd name="T91" fmla="*/ 3443 h 3505"/>
                <a:gd name="T92" fmla="*/ 964 w 3493"/>
                <a:gd name="T93" fmla="*/ 3320 h 3505"/>
                <a:gd name="T94" fmla="*/ 680 w 3493"/>
                <a:gd name="T95" fmla="*/ 3139 h 3505"/>
                <a:gd name="T96" fmla="*/ 435 w 3493"/>
                <a:gd name="T97" fmla="*/ 2910 h 3505"/>
                <a:gd name="T98" fmla="*/ 238 w 3493"/>
                <a:gd name="T99" fmla="*/ 2636 h 3505"/>
                <a:gd name="T100" fmla="*/ 97 w 3493"/>
                <a:gd name="T101" fmla="*/ 2327 h 3505"/>
                <a:gd name="T102" fmla="*/ 16 w 3493"/>
                <a:gd name="T103" fmla="*/ 1991 h 3505"/>
                <a:gd name="T104" fmla="*/ 4 w 3493"/>
                <a:gd name="T105" fmla="*/ 1633 h 3505"/>
                <a:gd name="T106" fmla="*/ 62 w 3493"/>
                <a:gd name="T107" fmla="*/ 1288 h 3505"/>
                <a:gd name="T108" fmla="*/ 185 w 3493"/>
                <a:gd name="T109" fmla="*/ 969 h 3505"/>
                <a:gd name="T110" fmla="*/ 364 w 3493"/>
                <a:gd name="T111" fmla="*/ 682 h 3505"/>
                <a:gd name="T112" fmla="*/ 594 w 3493"/>
                <a:gd name="T113" fmla="*/ 438 h 3505"/>
                <a:gd name="T114" fmla="*/ 866 w 3493"/>
                <a:gd name="T115" fmla="*/ 241 h 3505"/>
                <a:gd name="T116" fmla="*/ 1174 w 3493"/>
                <a:gd name="T117" fmla="*/ 97 h 3505"/>
                <a:gd name="T118" fmla="*/ 1509 w 3493"/>
                <a:gd name="T119" fmla="*/ 16 h 3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93" h="3505">
                  <a:moveTo>
                    <a:pt x="1747" y="364"/>
                  </a:moveTo>
                  <a:lnTo>
                    <a:pt x="1638" y="368"/>
                  </a:lnTo>
                  <a:lnTo>
                    <a:pt x="1533" y="380"/>
                  </a:lnTo>
                  <a:lnTo>
                    <a:pt x="1430" y="400"/>
                  </a:lnTo>
                  <a:lnTo>
                    <a:pt x="1329" y="428"/>
                  </a:lnTo>
                  <a:lnTo>
                    <a:pt x="1232" y="463"/>
                  </a:lnTo>
                  <a:lnTo>
                    <a:pt x="1138" y="505"/>
                  </a:lnTo>
                  <a:lnTo>
                    <a:pt x="1049" y="553"/>
                  </a:lnTo>
                  <a:lnTo>
                    <a:pt x="963" y="608"/>
                  </a:lnTo>
                  <a:lnTo>
                    <a:pt x="880" y="669"/>
                  </a:lnTo>
                  <a:lnTo>
                    <a:pt x="805" y="736"/>
                  </a:lnTo>
                  <a:lnTo>
                    <a:pt x="733" y="807"/>
                  </a:lnTo>
                  <a:lnTo>
                    <a:pt x="667" y="885"/>
                  </a:lnTo>
                  <a:lnTo>
                    <a:pt x="606" y="966"/>
                  </a:lnTo>
                  <a:lnTo>
                    <a:pt x="551" y="1052"/>
                  </a:lnTo>
                  <a:lnTo>
                    <a:pt x="502" y="1143"/>
                  </a:lnTo>
                  <a:lnTo>
                    <a:pt x="461" y="1236"/>
                  </a:lnTo>
                  <a:lnTo>
                    <a:pt x="427" y="1335"/>
                  </a:lnTo>
                  <a:lnTo>
                    <a:pt x="399" y="1434"/>
                  </a:lnTo>
                  <a:lnTo>
                    <a:pt x="379" y="1538"/>
                  </a:lnTo>
                  <a:lnTo>
                    <a:pt x="366" y="1645"/>
                  </a:lnTo>
                  <a:lnTo>
                    <a:pt x="362" y="1752"/>
                  </a:lnTo>
                  <a:lnTo>
                    <a:pt x="366" y="1862"/>
                  </a:lnTo>
                  <a:lnTo>
                    <a:pt x="379" y="1968"/>
                  </a:lnTo>
                  <a:lnTo>
                    <a:pt x="399" y="2071"/>
                  </a:lnTo>
                  <a:lnTo>
                    <a:pt x="427" y="2172"/>
                  </a:lnTo>
                  <a:lnTo>
                    <a:pt x="461" y="2269"/>
                  </a:lnTo>
                  <a:lnTo>
                    <a:pt x="502" y="2363"/>
                  </a:lnTo>
                  <a:lnTo>
                    <a:pt x="551" y="2454"/>
                  </a:lnTo>
                  <a:lnTo>
                    <a:pt x="606" y="2539"/>
                  </a:lnTo>
                  <a:lnTo>
                    <a:pt x="667" y="2622"/>
                  </a:lnTo>
                  <a:lnTo>
                    <a:pt x="733" y="2699"/>
                  </a:lnTo>
                  <a:lnTo>
                    <a:pt x="805" y="2769"/>
                  </a:lnTo>
                  <a:lnTo>
                    <a:pt x="880" y="2836"/>
                  </a:lnTo>
                  <a:lnTo>
                    <a:pt x="963" y="2897"/>
                  </a:lnTo>
                  <a:lnTo>
                    <a:pt x="1049" y="2952"/>
                  </a:lnTo>
                  <a:lnTo>
                    <a:pt x="1138" y="3001"/>
                  </a:lnTo>
                  <a:lnTo>
                    <a:pt x="1232" y="3042"/>
                  </a:lnTo>
                  <a:lnTo>
                    <a:pt x="1329" y="3078"/>
                  </a:lnTo>
                  <a:lnTo>
                    <a:pt x="1430" y="3105"/>
                  </a:lnTo>
                  <a:lnTo>
                    <a:pt x="1533" y="3126"/>
                  </a:lnTo>
                  <a:lnTo>
                    <a:pt x="1638" y="3138"/>
                  </a:lnTo>
                  <a:lnTo>
                    <a:pt x="1747" y="3142"/>
                  </a:lnTo>
                  <a:lnTo>
                    <a:pt x="1854" y="3138"/>
                  </a:lnTo>
                  <a:lnTo>
                    <a:pt x="1960" y="3126"/>
                  </a:lnTo>
                  <a:lnTo>
                    <a:pt x="2064" y="3105"/>
                  </a:lnTo>
                  <a:lnTo>
                    <a:pt x="2164" y="3078"/>
                  </a:lnTo>
                  <a:lnTo>
                    <a:pt x="2261" y="3042"/>
                  </a:lnTo>
                  <a:lnTo>
                    <a:pt x="2354" y="3001"/>
                  </a:lnTo>
                  <a:lnTo>
                    <a:pt x="2444" y="2952"/>
                  </a:lnTo>
                  <a:lnTo>
                    <a:pt x="2530" y="2897"/>
                  </a:lnTo>
                  <a:lnTo>
                    <a:pt x="2611" y="2836"/>
                  </a:lnTo>
                  <a:lnTo>
                    <a:pt x="2688" y="2769"/>
                  </a:lnTo>
                  <a:lnTo>
                    <a:pt x="2760" y="2699"/>
                  </a:lnTo>
                  <a:lnTo>
                    <a:pt x="2826" y="2622"/>
                  </a:lnTo>
                  <a:lnTo>
                    <a:pt x="2887" y="2539"/>
                  </a:lnTo>
                  <a:lnTo>
                    <a:pt x="2942" y="2454"/>
                  </a:lnTo>
                  <a:lnTo>
                    <a:pt x="2989" y="2363"/>
                  </a:lnTo>
                  <a:lnTo>
                    <a:pt x="3032" y="2269"/>
                  </a:lnTo>
                  <a:lnTo>
                    <a:pt x="3066" y="2172"/>
                  </a:lnTo>
                  <a:lnTo>
                    <a:pt x="3094" y="2071"/>
                  </a:lnTo>
                  <a:lnTo>
                    <a:pt x="3114" y="1968"/>
                  </a:lnTo>
                  <a:lnTo>
                    <a:pt x="3126" y="1862"/>
                  </a:lnTo>
                  <a:lnTo>
                    <a:pt x="3131" y="1752"/>
                  </a:lnTo>
                  <a:lnTo>
                    <a:pt x="3126" y="1645"/>
                  </a:lnTo>
                  <a:lnTo>
                    <a:pt x="3114" y="1538"/>
                  </a:lnTo>
                  <a:lnTo>
                    <a:pt x="3094" y="1434"/>
                  </a:lnTo>
                  <a:lnTo>
                    <a:pt x="3066" y="1335"/>
                  </a:lnTo>
                  <a:lnTo>
                    <a:pt x="3032" y="1236"/>
                  </a:lnTo>
                  <a:lnTo>
                    <a:pt x="2989" y="1143"/>
                  </a:lnTo>
                  <a:lnTo>
                    <a:pt x="2942" y="1052"/>
                  </a:lnTo>
                  <a:lnTo>
                    <a:pt x="2887" y="966"/>
                  </a:lnTo>
                  <a:lnTo>
                    <a:pt x="2826" y="885"/>
                  </a:lnTo>
                  <a:lnTo>
                    <a:pt x="2760" y="807"/>
                  </a:lnTo>
                  <a:lnTo>
                    <a:pt x="2688" y="736"/>
                  </a:lnTo>
                  <a:lnTo>
                    <a:pt x="2611" y="669"/>
                  </a:lnTo>
                  <a:lnTo>
                    <a:pt x="2530" y="608"/>
                  </a:lnTo>
                  <a:lnTo>
                    <a:pt x="2444" y="553"/>
                  </a:lnTo>
                  <a:lnTo>
                    <a:pt x="2354" y="505"/>
                  </a:lnTo>
                  <a:lnTo>
                    <a:pt x="2261" y="463"/>
                  </a:lnTo>
                  <a:lnTo>
                    <a:pt x="2164" y="428"/>
                  </a:lnTo>
                  <a:lnTo>
                    <a:pt x="2064" y="400"/>
                  </a:lnTo>
                  <a:lnTo>
                    <a:pt x="1960" y="380"/>
                  </a:lnTo>
                  <a:lnTo>
                    <a:pt x="1854" y="368"/>
                  </a:lnTo>
                  <a:lnTo>
                    <a:pt x="1747" y="364"/>
                  </a:lnTo>
                  <a:close/>
                  <a:moveTo>
                    <a:pt x="1747" y="0"/>
                  </a:moveTo>
                  <a:lnTo>
                    <a:pt x="1866" y="4"/>
                  </a:lnTo>
                  <a:lnTo>
                    <a:pt x="1983" y="16"/>
                  </a:lnTo>
                  <a:lnTo>
                    <a:pt x="2098" y="36"/>
                  </a:lnTo>
                  <a:lnTo>
                    <a:pt x="2211" y="64"/>
                  </a:lnTo>
                  <a:lnTo>
                    <a:pt x="2320" y="97"/>
                  </a:lnTo>
                  <a:lnTo>
                    <a:pt x="2426" y="138"/>
                  </a:lnTo>
                  <a:lnTo>
                    <a:pt x="2528" y="186"/>
                  </a:lnTo>
                  <a:lnTo>
                    <a:pt x="2627" y="241"/>
                  </a:lnTo>
                  <a:lnTo>
                    <a:pt x="2723" y="300"/>
                  </a:lnTo>
                  <a:lnTo>
                    <a:pt x="2813" y="366"/>
                  </a:lnTo>
                  <a:lnTo>
                    <a:pt x="2899" y="438"/>
                  </a:lnTo>
                  <a:lnTo>
                    <a:pt x="2981" y="515"/>
                  </a:lnTo>
                  <a:lnTo>
                    <a:pt x="3057" y="596"/>
                  </a:lnTo>
                  <a:lnTo>
                    <a:pt x="3129" y="682"/>
                  </a:lnTo>
                  <a:lnTo>
                    <a:pt x="3195" y="774"/>
                  </a:lnTo>
                  <a:lnTo>
                    <a:pt x="3255" y="869"/>
                  </a:lnTo>
                  <a:lnTo>
                    <a:pt x="3308" y="969"/>
                  </a:lnTo>
                  <a:lnTo>
                    <a:pt x="3355" y="1071"/>
                  </a:lnTo>
                  <a:lnTo>
                    <a:pt x="3397" y="1177"/>
                  </a:lnTo>
                  <a:lnTo>
                    <a:pt x="3431" y="1288"/>
                  </a:lnTo>
                  <a:lnTo>
                    <a:pt x="3458" y="1400"/>
                  </a:lnTo>
                  <a:lnTo>
                    <a:pt x="3478" y="1516"/>
                  </a:lnTo>
                  <a:lnTo>
                    <a:pt x="3489" y="1633"/>
                  </a:lnTo>
                  <a:lnTo>
                    <a:pt x="3493" y="1752"/>
                  </a:lnTo>
                  <a:lnTo>
                    <a:pt x="3489" y="1872"/>
                  </a:lnTo>
                  <a:lnTo>
                    <a:pt x="3478" y="1991"/>
                  </a:lnTo>
                  <a:lnTo>
                    <a:pt x="3458" y="2105"/>
                  </a:lnTo>
                  <a:lnTo>
                    <a:pt x="3431" y="2218"/>
                  </a:lnTo>
                  <a:lnTo>
                    <a:pt x="3397" y="2327"/>
                  </a:lnTo>
                  <a:lnTo>
                    <a:pt x="3355" y="2434"/>
                  </a:lnTo>
                  <a:lnTo>
                    <a:pt x="3308" y="2538"/>
                  </a:lnTo>
                  <a:lnTo>
                    <a:pt x="3255" y="2636"/>
                  </a:lnTo>
                  <a:lnTo>
                    <a:pt x="3195" y="2732"/>
                  </a:lnTo>
                  <a:lnTo>
                    <a:pt x="3129" y="2822"/>
                  </a:lnTo>
                  <a:lnTo>
                    <a:pt x="3057" y="2910"/>
                  </a:lnTo>
                  <a:lnTo>
                    <a:pt x="2981" y="2992"/>
                  </a:lnTo>
                  <a:lnTo>
                    <a:pt x="2899" y="3069"/>
                  </a:lnTo>
                  <a:lnTo>
                    <a:pt x="2813" y="3139"/>
                  </a:lnTo>
                  <a:lnTo>
                    <a:pt x="2723" y="3206"/>
                  </a:lnTo>
                  <a:lnTo>
                    <a:pt x="2627" y="3266"/>
                  </a:lnTo>
                  <a:lnTo>
                    <a:pt x="2528" y="3320"/>
                  </a:lnTo>
                  <a:lnTo>
                    <a:pt x="2426" y="3367"/>
                  </a:lnTo>
                  <a:lnTo>
                    <a:pt x="2320" y="3408"/>
                  </a:lnTo>
                  <a:lnTo>
                    <a:pt x="2211" y="3443"/>
                  </a:lnTo>
                  <a:lnTo>
                    <a:pt x="2098" y="3469"/>
                  </a:lnTo>
                  <a:lnTo>
                    <a:pt x="1983" y="3489"/>
                  </a:lnTo>
                  <a:lnTo>
                    <a:pt x="1866" y="3501"/>
                  </a:lnTo>
                  <a:lnTo>
                    <a:pt x="1747" y="3505"/>
                  </a:lnTo>
                  <a:lnTo>
                    <a:pt x="1627" y="3501"/>
                  </a:lnTo>
                  <a:lnTo>
                    <a:pt x="1509" y="3489"/>
                  </a:lnTo>
                  <a:lnTo>
                    <a:pt x="1395" y="3469"/>
                  </a:lnTo>
                  <a:lnTo>
                    <a:pt x="1282" y="3443"/>
                  </a:lnTo>
                  <a:lnTo>
                    <a:pt x="1174" y="3408"/>
                  </a:lnTo>
                  <a:lnTo>
                    <a:pt x="1067" y="3367"/>
                  </a:lnTo>
                  <a:lnTo>
                    <a:pt x="964" y="3320"/>
                  </a:lnTo>
                  <a:lnTo>
                    <a:pt x="866" y="3266"/>
                  </a:lnTo>
                  <a:lnTo>
                    <a:pt x="770" y="3206"/>
                  </a:lnTo>
                  <a:lnTo>
                    <a:pt x="680" y="3139"/>
                  </a:lnTo>
                  <a:lnTo>
                    <a:pt x="594" y="3069"/>
                  </a:lnTo>
                  <a:lnTo>
                    <a:pt x="512" y="2992"/>
                  </a:lnTo>
                  <a:lnTo>
                    <a:pt x="435" y="2910"/>
                  </a:lnTo>
                  <a:lnTo>
                    <a:pt x="364" y="2822"/>
                  </a:lnTo>
                  <a:lnTo>
                    <a:pt x="298" y="2732"/>
                  </a:lnTo>
                  <a:lnTo>
                    <a:pt x="238" y="2636"/>
                  </a:lnTo>
                  <a:lnTo>
                    <a:pt x="185" y="2538"/>
                  </a:lnTo>
                  <a:lnTo>
                    <a:pt x="138" y="2434"/>
                  </a:lnTo>
                  <a:lnTo>
                    <a:pt x="97" y="2327"/>
                  </a:lnTo>
                  <a:lnTo>
                    <a:pt x="62" y="2218"/>
                  </a:lnTo>
                  <a:lnTo>
                    <a:pt x="35" y="2105"/>
                  </a:lnTo>
                  <a:lnTo>
                    <a:pt x="16" y="1991"/>
                  </a:lnTo>
                  <a:lnTo>
                    <a:pt x="4" y="1872"/>
                  </a:lnTo>
                  <a:lnTo>
                    <a:pt x="0" y="1752"/>
                  </a:lnTo>
                  <a:lnTo>
                    <a:pt x="4" y="1633"/>
                  </a:lnTo>
                  <a:lnTo>
                    <a:pt x="16" y="1516"/>
                  </a:lnTo>
                  <a:lnTo>
                    <a:pt x="35" y="1400"/>
                  </a:lnTo>
                  <a:lnTo>
                    <a:pt x="62" y="1288"/>
                  </a:lnTo>
                  <a:lnTo>
                    <a:pt x="97" y="1177"/>
                  </a:lnTo>
                  <a:lnTo>
                    <a:pt x="138" y="1071"/>
                  </a:lnTo>
                  <a:lnTo>
                    <a:pt x="185" y="969"/>
                  </a:lnTo>
                  <a:lnTo>
                    <a:pt x="238" y="869"/>
                  </a:lnTo>
                  <a:lnTo>
                    <a:pt x="298" y="774"/>
                  </a:lnTo>
                  <a:lnTo>
                    <a:pt x="364" y="682"/>
                  </a:lnTo>
                  <a:lnTo>
                    <a:pt x="435" y="596"/>
                  </a:lnTo>
                  <a:lnTo>
                    <a:pt x="512" y="515"/>
                  </a:lnTo>
                  <a:lnTo>
                    <a:pt x="594" y="438"/>
                  </a:lnTo>
                  <a:lnTo>
                    <a:pt x="680" y="366"/>
                  </a:lnTo>
                  <a:lnTo>
                    <a:pt x="770" y="300"/>
                  </a:lnTo>
                  <a:lnTo>
                    <a:pt x="866" y="241"/>
                  </a:lnTo>
                  <a:lnTo>
                    <a:pt x="964" y="186"/>
                  </a:lnTo>
                  <a:lnTo>
                    <a:pt x="1067" y="138"/>
                  </a:lnTo>
                  <a:lnTo>
                    <a:pt x="1174" y="97"/>
                  </a:lnTo>
                  <a:lnTo>
                    <a:pt x="1282" y="64"/>
                  </a:lnTo>
                  <a:lnTo>
                    <a:pt x="1395" y="36"/>
                  </a:lnTo>
                  <a:lnTo>
                    <a:pt x="1509" y="16"/>
                  </a:lnTo>
                  <a:lnTo>
                    <a:pt x="1627" y="4"/>
                  </a:lnTo>
                  <a:lnTo>
                    <a:pt x="1747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773613" y="3663951"/>
              <a:ext cx="649288" cy="636588"/>
            </a:xfrm>
            <a:custGeom>
              <a:avLst/>
              <a:gdLst>
                <a:gd name="T0" fmla="*/ 545 w 1635"/>
                <a:gd name="T1" fmla="*/ 0 h 1604"/>
                <a:gd name="T2" fmla="*/ 1610 w 1635"/>
                <a:gd name="T3" fmla="*/ 1045 h 1604"/>
                <a:gd name="T4" fmla="*/ 1625 w 1635"/>
                <a:gd name="T5" fmla="*/ 1064 h 1604"/>
                <a:gd name="T6" fmla="*/ 1632 w 1635"/>
                <a:gd name="T7" fmla="*/ 1085 h 1604"/>
                <a:gd name="T8" fmla="*/ 1635 w 1635"/>
                <a:gd name="T9" fmla="*/ 1106 h 1604"/>
                <a:gd name="T10" fmla="*/ 1635 w 1635"/>
                <a:gd name="T11" fmla="*/ 1108 h 1604"/>
                <a:gd name="T12" fmla="*/ 1632 w 1635"/>
                <a:gd name="T13" fmla="*/ 1129 h 1604"/>
                <a:gd name="T14" fmla="*/ 1625 w 1635"/>
                <a:gd name="T15" fmla="*/ 1150 h 1604"/>
                <a:gd name="T16" fmla="*/ 1610 w 1635"/>
                <a:gd name="T17" fmla="*/ 1169 h 1604"/>
                <a:gd name="T18" fmla="*/ 1203 w 1635"/>
                <a:gd name="T19" fmla="*/ 1577 h 1604"/>
                <a:gd name="T20" fmla="*/ 1184 w 1635"/>
                <a:gd name="T21" fmla="*/ 1592 h 1604"/>
                <a:gd name="T22" fmla="*/ 1163 w 1635"/>
                <a:gd name="T23" fmla="*/ 1601 h 1604"/>
                <a:gd name="T24" fmla="*/ 1140 w 1635"/>
                <a:gd name="T25" fmla="*/ 1604 h 1604"/>
                <a:gd name="T26" fmla="*/ 1140 w 1635"/>
                <a:gd name="T27" fmla="*/ 1604 h 1604"/>
                <a:gd name="T28" fmla="*/ 1118 w 1635"/>
                <a:gd name="T29" fmla="*/ 1601 h 1604"/>
                <a:gd name="T30" fmla="*/ 1097 w 1635"/>
                <a:gd name="T31" fmla="*/ 1593 h 1604"/>
                <a:gd name="T32" fmla="*/ 1077 w 1635"/>
                <a:gd name="T33" fmla="*/ 1579 h 1604"/>
                <a:gd name="T34" fmla="*/ 0 w 1635"/>
                <a:gd name="T35" fmla="*/ 521 h 1604"/>
                <a:gd name="T36" fmla="*/ 90 w 1635"/>
                <a:gd name="T37" fmla="*/ 461 h 1604"/>
                <a:gd name="T38" fmla="*/ 177 w 1635"/>
                <a:gd name="T39" fmla="*/ 396 h 1604"/>
                <a:gd name="T40" fmla="*/ 260 w 1635"/>
                <a:gd name="T41" fmla="*/ 325 h 1604"/>
                <a:gd name="T42" fmla="*/ 338 w 1635"/>
                <a:gd name="T43" fmla="*/ 250 h 1604"/>
                <a:gd name="T44" fmla="*/ 412 w 1635"/>
                <a:gd name="T45" fmla="*/ 171 h 1604"/>
                <a:gd name="T46" fmla="*/ 481 w 1635"/>
                <a:gd name="T47" fmla="*/ 88 h 1604"/>
                <a:gd name="T48" fmla="*/ 545 w 1635"/>
                <a:gd name="T49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35" h="1604">
                  <a:moveTo>
                    <a:pt x="545" y="0"/>
                  </a:moveTo>
                  <a:lnTo>
                    <a:pt x="1610" y="1045"/>
                  </a:lnTo>
                  <a:lnTo>
                    <a:pt x="1625" y="1064"/>
                  </a:lnTo>
                  <a:lnTo>
                    <a:pt x="1632" y="1085"/>
                  </a:lnTo>
                  <a:lnTo>
                    <a:pt x="1635" y="1106"/>
                  </a:lnTo>
                  <a:lnTo>
                    <a:pt x="1635" y="1108"/>
                  </a:lnTo>
                  <a:lnTo>
                    <a:pt x="1632" y="1129"/>
                  </a:lnTo>
                  <a:lnTo>
                    <a:pt x="1625" y="1150"/>
                  </a:lnTo>
                  <a:lnTo>
                    <a:pt x="1610" y="1169"/>
                  </a:lnTo>
                  <a:lnTo>
                    <a:pt x="1203" y="1577"/>
                  </a:lnTo>
                  <a:lnTo>
                    <a:pt x="1184" y="1592"/>
                  </a:lnTo>
                  <a:lnTo>
                    <a:pt x="1163" y="1601"/>
                  </a:lnTo>
                  <a:lnTo>
                    <a:pt x="1140" y="1604"/>
                  </a:lnTo>
                  <a:lnTo>
                    <a:pt x="1140" y="1604"/>
                  </a:lnTo>
                  <a:lnTo>
                    <a:pt x="1118" y="1601"/>
                  </a:lnTo>
                  <a:lnTo>
                    <a:pt x="1097" y="1593"/>
                  </a:lnTo>
                  <a:lnTo>
                    <a:pt x="1077" y="1579"/>
                  </a:lnTo>
                  <a:lnTo>
                    <a:pt x="0" y="521"/>
                  </a:lnTo>
                  <a:lnTo>
                    <a:pt x="90" y="461"/>
                  </a:lnTo>
                  <a:lnTo>
                    <a:pt x="177" y="396"/>
                  </a:lnTo>
                  <a:lnTo>
                    <a:pt x="260" y="325"/>
                  </a:lnTo>
                  <a:lnTo>
                    <a:pt x="338" y="250"/>
                  </a:lnTo>
                  <a:lnTo>
                    <a:pt x="412" y="171"/>
                  </a:lnTo>
                  <a:lnTo>
                    <a:pt x="481" y="88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7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3797301" y="3759201"/>
              <a:ext cx="325438" cy="311150"/>
            </a:xfrm>
            <a:custGeom>
              <a:avLst/>
              <a:gdLst>
                <a:gd name="T0" fmla="*/ 385 w 820"/>
                <a:gd name="T1" fmla="*/ 289 h 782"/>
                <a:gd name="T2" fmla="*/ 341 w 820"/>
                <a:gd name="T3" fmla="*/ 314 h 782"/>
                <a:gd name="T4" fmla="*/ 316 w 820"/>
                <a:gd name="T5" fmla="*/ 358 h 782"/>
                <a:gd name="T6" fmla="*/ 316 w 820"/>
                <a:gd name="T7" fmla="*/ 410 h 782"/>
                <a:gd name="T8" fmla="*/ 341 w 820"/>
                <a:gd name="T9" fmla="*/ 452 h 782"/>
                <a:gd name="T10" fmla="*/ 385 w 820"/>
                <a:gd name="T11" fmla="*/ 478 h 782"/>
                <a:gd name="T12" fmla="*/ 436 w 820"/>
                <a:gd name="T13" fmla="*/ 478 h 782"/>
                <a:gd name="T14" fmla="*/ 479 w 820"/>
                <a:gd name="T15" fmla="*/ 452 h 782"/>
                <a:gd name="T16" fmla="*/ 504 w 820"/>
                <a:gd name="T17" fmla="*/ 410 h 782"/>
                <a:gd name="T18" fmla="*/ 504 w 820"/>
                <a:gd name="T19" fmla="*/ 358 h 782"/>
                <a:gd name="T20" fmla="*/ 479 w 820"/>
                <a:gd name="T21" fmla="*/ 314 h 782"/>
                <a:gd name="T22" fmla="*/ 436 w 820"/>
                <a:gd name="T23" fmla="*/ 289 h 782"/>
                <a:gd name="T24" fmla="*/ 233 w 820"/>
                <a:gd name="T25" fmla="*/ 0 h 782"/>
                <a:gd name="T26" fmla="*/ 240 w 820"/>
                <a:gd name="T27" fmla="*/ 2 h 782"/>
                <a:gd name="T28" fmla="*/ 302 w 820"/>
                <a:gd name="T29" fmla="*/ 58 h 782"/>
                <a:gd name="T30" fmla="*/ 460 w 820"/>
                <a:gd name="T31" fmla="*/ 191 h 782"/>
                <a:gd name="T32" fmla="*/ 633 w 820"/>
                <a:gd name="T33" fmla="*/ 305 h 782"/>
                <a:gd name="T34" fmla="*/ 818 w 820"/>
                <a:gd name="T35" fmla="*/ 398 h 782"/>
                <a:gd name="T36" fmla="*/ 820 w 820"/>
                <a:gd name="T37" fmla="*/ 406 h 782"/>
                <a:gd name="T38" fmla="*/ 798 w 820"/>
                <a:gd name="T39" fmla="*/ 507 h 782"/>
                <a:gd name="T40" fmla="*/ 793 w 820"/>
                <a:gd name="T41" fmla="*/ 511 h 782"/>
                <a:gd name="T42" fmla="*/ 707 w 820"/>
                <a:gd name="T43" fmla="*/ 515 h 782"/>
                <a:gd name="T44" fmla="*/ 652 w 820"/>
                <a:gd name="T45" fmla="*/ 596 h 782"/>
                <a:gd name="T46" fmla="*/ 680 w 820"/>
                <a:gd name="T47" fmla="*/ 677 h 782"/>
                <a:gd name="T48" fmla="*/ 678 w 820"/>
                <a:gd name="T49" fmla="*/ 684 h 782"/>
                <a:gd name="T50" fmla="*/ 593 w 820"/>
                <a:gd name="T51" fmla="*/ 741 h 782"/>
                <a:gd name="T52" fmla="*/ 586 w 820"/>
                <a:gd name="T53" fmla="*/ 742 h 782"/>
                <a:gd name="T54" fmla="*/ 580 w 820"/>
                <a:gd name="T55" fmla="*/ 740 h 782"/>
                <a:gd name="T56" fmla="*/ 472 w 820"/>
                <a:gd name="T57" fmla="*/ 696 h 782"/>
                <a:gd name="T58" fmla="*/ 387 w 820"/>
                <a:gd name="T59" fmla="*/ 777 h 782"/>
                <a:gd name="T60" fmla="*/ 382 w 820"/>
                <a:gd name="T61" fmla="*/ 782 h 782"/>
                <a:gd name="T62" fmla="*/ 375 w 820"/>
                <a:gd name="T63" fmla="*/ 782 h 782"/>
                <a:gd name="T64" fmla="*/ 276 w 820"/>
                <a:gd name="T65" fmla="*/ 761 h 782"/>
                <a:gd name="T66" fmla="*/ 270 w 820"/>
                <a:gd name="T67" fmla="*/ 756 h 782"/>
                <a:gd name="T68" fmla="*/ 266 w 820"/>
                <a:gd name="T69" fmla="*/ 669 h 782"/>
                <a:gd name="T70" fmla="*/ 186 w 820"/>
                <a:gd name="T71" fmla="*/ 615 h 782"/>
                <a:gd name="T72" fmla="*/ 105 w 820"/>
                <a:gd name="T73" fmla="*/ 643 h 782"/>
                <a:gd name="T74" fmla="*/ 98 w 820"/>
                <a:gd name="T75" fmla="*/ 640 h 782"/>
                <a:gd name="T76" fmla="*/ 41 w 820"/>
                <a:gd name="T77" fmla="*/ 555 h 782"/>
                <a:gd name="T78" fmla="*/ 40 w 820"/>
                <a:gd name="T79" fmla="*/ 548 h 782"/>
                <a:gd name="T80" fmla="*/ 42 w 820"/>
                <a:gd name="T81" fmla="*/ 541 h 782"/>
                <a:gd name="T82" fmla="*/ 86 w 820"/>
                <a:gd name="T83" fmla="*/ 434 h 782"/>
                <a:gd name="T84" fmla="*/ 6 w 820"/>
                <a:gd name="T85" fmla="*/ 349 h 782"/>
                <a:gd name="T86" fmla="*/ 1 w 820"/>
                <a:gd name="T87" fmla="*/ 343 h 782"/>
                <a:gd name="T88" fmla="*/ 0 w 820"/>
                <a:gd name="T89" fmla="*/ 337 h 782"/>
                <a:gd name="T90" fmla="*/ 21 w 820"/>
                <a:gd name="T91" fmla="*/ 237 h 782"/>
                <a:gd name="T92" fmla="*/ 26 w 820"/>
                <a:gd name="T93" fmla="*/ 231 h 782"/>
                <a:gd name="T94" fmla="*/ 113 w 820"/>
                <a:gd name="T95" fmla="*/ 227 h 782"/>
                <a:gd name="T96" fmla="*/ 168 w 820"/>
                <a:gd name="T97" fmla="*/ 146 h 782"/>
                <a:gd name="T98" fmla="*/ 139 w 820"/>
                <a:gd name="T99" fmla="*/ 65 h 782"/>
                <a:gd name="T100" fmla="*/ 142 w 820"/>
                <a:gd name="T101" fmla="*/ 58 h 782"/>
                <a:gd name="T102" fmla="*/ 227 w 820"/>
                <a:gd name="T103" fmla="*/ 1 h 782"/>
                <a:gd name="T104" fmla="*/ 233 w 820"/>
                <a:gd name="T105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20" h="782">
                  <a:moveTo>
                    <a:pt x="410" y="286"/>
                  </a:moveTo>
                  <a:lnTo>
                    <a:pt x="385" y="289"/>
                  </a:lnTo>
                  <a:lnTo>
                    <a:pt x="361" y="299"/>
                  </a:lnTo>
                  <a:lnTo>
                    <a:pt x="341" y="314"/>
                  </a:lnTo>
                  <a:lnTo>
                    <a:pt x="326" y="334"/>
                  </a:lnTo>
                  <a:lnTo>
                    <a:pt x="316" y="358"/>
                  </a:lnTo>
                  <a:lnTo>
                    <a:pt x="313" y="383"/>
                  </a:lnTo>
                  <a:lnTo>
                    <a:pt x="316" y="410"/>
                  </a:lnTo>
                  <a:lnTo>
                    <a:pt x="326" y="432"/>
                  </a:lnTo>
                  <a:lnTo>
                    <a:pt x="341" y="452"/>
                  </a:lnTo>
                  <a:lnTo>
                    <a:pt x="361" y="468"/>
                  </a:lnTo>
                  <a:lnTo>
                    <a:pt x="385" y="478"/>
                  </a:lnTo>
                  <a:lnTo>
                    <a:pt x="410" y="482"/>
                  </a:lnTo>
                  <a:lnTo>
                    <a:pt x="436" y="478"/>
                  </a:lnTo>
                  <a:lnTo>
                    <a:pt x="459" y="468"/>
                  </a:lnTo>
                  <a:lnTo>
                    <a:pt x="479" y="452"/>
                  </a:lnTo>
                  <a:lnTo>
                    <a:pt x="495" y="432"/>
                  </a:lnTo>
                  <a:lnTo>
                    <a:pt x="504" y="410"/>
                  </a:lnTo>
                  <a:lnTo>
                    <a:pt x="508" y="383"/>
                  </a:lnTo>
                  <a:lnTo>
                    <a:pt x="504" y="358"/>
                  </a:lnTo>
                  <a:lnTo>
                    <a:pt x="495" y="334"/>
                  </a:lnTo>
                  <a:lnTo>
                    <a:pt x="479" y="314"/>
                  </a:lnTo>
                  <a:lnTo>
                    <a:pt x="459" y="299"/>
                  </a:lnTo>
                  <a:lnTo>
                    <a:pt x="436" y="289"/>
                  </a:lnTo>
                  <a:lnTo>
                    <a:pt x="410" y="286"/>
                  </a:lnTo>
                  <a:close/>
                  <a:moveTo>
                    <a:pt x="233" y="0"/>
                  </a:moveTo>
                  <a:lnTo>
                    <a:pt x="237" y="1"/>
                  </a:lnTo>
                  <a:lnTo>
                    <a:pt x="240" y="2"/>
                  </a:lnTo>
                  <a:lnTo>
                    <a:pt x="301" y="60"/>
                  </a:lnTo>
                  <a:lnTo>
                    <a:pt x="302" y="58"/>
                  </a:lnTo>
                  <a:lnTo>
                    <a:pt x="379" y="128"/>
                  </a:lnTo>
                  <a:lnTo>
                    <a:pt x="460" y="191"/>
                  </a:lnTo>
                  <a:lnTo>
                    <a:pt x="545" y="250"/>
                  </a:lnTo>
                  <a:lnTo>
                    <a:pt x="633" y="305"/>
                  </a:lnTo>
                  <a:lnTo>
                    <a:pt x="724" y="354"/>
                  </a:lnTo>
                  <a:lnTo>
                    <a:pt x="818" y="398"/>
                  </a:lnTo>
                  <a:lnTo>
                    <a:pt x="820" y="402"/>
                  </a:lnTo>
                  <a:lnTo>
                    <a:pt x="820" y="406"/>
                  </a:lnTo>
                  <a:lnTo>
                    <a:pt x="800" y="503"/>
                  </a:lnTo>
                  <a:lnTo>
                    <a:pt x="798" y="507"/>
                  </a:lnTo>
                  <a:lnTo>
                    <a:pt x="796" y="510"/>
                  </a:lnTo>
                  <a:lnTo>
                    <a:pt x="793" y="511"/>
                  </a:lnTo>
                  <a:lnTo>
                    <a:pt x="790" y="512"/>
                  </a:lnTo>
                  <a:lnTo>
                    <a:pt x="707" y="515"/>
                  </a:lnTo>
                  <a:lnTo>
                    <a:pt x="683" y="557"/>
                  </a:lnTo>
                  <a:lnTo>
                    <a:pt x="652" y="596"/>
                  </a:lnTo>
                  <a:lnTo>
                    <a:pt x="680" y="675"/>
                  </a:lnTo>
                  <a:lnTo>
                    <a:pt x="680" y="677"/>
                  </a:lnTo>
                  <a:lnTo>
                    <a:pt x="680" y="681"/>
                  </a:lnTo>
                  <a:lnTo>
                    <a:pt x="678" y="684"/>
                  </a:lnTo>
                  <a:lnTo>
                    <a:pt x="675" y="687"/>
                  </a:lnTo>
                  <a:lnTo>
                    <a:pt x="593" y="741"/>
                  </a:lnTo>
                  <a:lnTo>
                    <a:pt x="590" y="742"/>
                  </a:lnTo>
                  <a:lnTo>
                    <a:pt x="586" y="742"/>
                  </a:lnTo>
                  <a:lnTo>
                    <a:pt x="582" y="742"/>
                  </a:lnTo>
                  <a:lnTo>
                    <a:pt x="580" y="740"/>
                  </a:lnTo>
                  <a:lnTo>
                    <a:pt x="518" y="684"/>
                  </a:lnTo>
                  <a:lnTo>
                    <a:pt x="472" y="696"/>
                  </a:lnTo>
                  <a:lnTo>
                    <a:pt x="423" y="703"/>
                  </a:lnTo>
                  <a:lnTo>
                    <a:pt x="387" y="777"/>
                  </a:lnTo>
                  <a:lnTo>
                    <a:pt x="386" y="780"/>
                  </a:lnTo>
                  <a:lnTo>
                    <a:pt x="382" y="782"/>
                  </a:lnTo>
                  <a:lnTo>
                    <a:pt x="379" y="782"/>
                  </a:lnTo>
                  <a:lnTo>
                    <a:pt x="375" y="782"/>
                  </a:lnTo>
                  <a:lnTo>
                    <a:pt x="278" y="762"/>
                  </a:lnTo>
                  <a:lnTo>
                    <a:pt x="276" y="761"/>
                  </a:lnTo>
                  <a:lnTo>
                    <a:pt x="273" y="758"/>
                  </a:lnTo>
                  <a:lnTo>
                    <a:pt x="270" y="756"/>
                  </a:lnTo>
                  <a:lnTo>
                    <a:pt x="270" y="753"/>
                  </a:lnTo>
                  <a:lnTo>
                    <a:pt x="266" y="669"/>
                  </a:lnTo>
                  <a:lnTo>
                    <a:pt x="224" y="645"/>
                  </a:lnTo>
                  <a:lnTo>
                    <a:pt x="186" y="615"/>
                  </a:lnTo>
                  <a:lnTo>
                    <a:pt x="109" y="643"/>
                  </a:lnTo>
                  <a:lnTo>
                    <a:pt x="105" y="643"/>
                  </a:lnTo>
                  <a:lnTo>
                    <a:pt x="101" y="641"/>
                  </a:lnTo>
                  <a:lnTo>
                    <a:pt x="98" y="640"/>
                  </a:lnTo>
                  <a:lnTo>
                    <a:pt x="95" y="637"/>
                  </a:lnTo>
                  <a:lnTo>
                    <a:pt x="41" y="555"/>
                  </a:lnTo>
                  <a:lnTo>
                    <a:pt x="40" y="552"/>
                  </a:lnTo>
                  <a:lnTo>
                    <a:pt x="40" y="548"/>
                  </a:lnTo>
                  <a:lnTo>
                    <a:pt x="41" y="544"/>
                  </a:lnTo>
                  <a:lnTo>
                    <a:pt x="42" y="541"/>
                  </a:lnTo>
                  <a:lnTo>
                    <a:pt x="99" y="480"/>
                  </a:lnTo>
                  <a:lnTo>
                    <a:pt x="86" y="434"/>
                  </a:lnTo>
                  <a:lnTo>
                    <a:pt x="81" y="384"/>
                  </a:lnTo>
                  <a:lnTo>
                    <a:pt x="6" y="349"/>
                  </a:lnTo>
                  <a:lnTo>
                    <a:pt x="3" y="347"/>
                  </a:lnTo>
                  <a:lnTo>
                    <a:pt x="1" y="343"/>
                  </a:lnTo>
                  <a:lnTo>
                    <a:pt x="0" y="341"/>
                  </a:lnTo>
                  <a:lnTo>
                    <a:pt x="0" y="337"/>
                  </a:lnTo>
                  <a:lnTo>
                    <a:pt x="20" y="239"/>
                  </a:lnTo>
                  <a:lnTo>
                    <a:pt x="21" y="237"/>
                  </a:lnTo>
                  <a:lnTo>
                    <a:pt x="24" y="234"/>
                  </a:lnTo>
                  <a:lnTo>
                    <a:pt x="26" y="231"/>
                  </a:lnTo>
                  <a:lnTo>
                    <a:pt x="30" y="231"/>
                  </a:lnTo>
                  <a:lnTo>
                    <a:pt x="113" y="227"/>
                  </a:lnTo>
                  <a:lnTo>
                    <a:pt x="138" y="185"/>
                  </a:lnTo>
                  <a:lnTo>
                    <a:pt x="168" y="146"/>
                  </a:lnTo>
                  <a:lnTo>
                    <a:pt x="140" y="69"/>
                  </a:lnTo>
                  <a:lnTo>
                    <a:pt x="139" y="65"/>
                  </a:lnTo>
                  <a:lnTo>
                    <a:pt x="140" y="61"/>
                  </a:lnTo>
                  <a:lnTo>
                    <a:pt x="142" y="58"/>
                  </a:lnTo>
                  <a:lnTo>
                    <a:pt x="144" y="56"/>
                  </a:lnTo>
                  <a:lnTo>
                    <a:pt x="227" y="1"/>
                  </a:lnTo>
                  <a:lnTo>
                    <a:pt x="231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5" name="Inhaltsplatzhalter 4"/>
          <p:cNvSpPr txBox="1">
            <a:spLocks/>
          </p:cNvSpPr>
          <p:nvPr/>
        </p:nvSpPr>
        <p:spPr>
          <a:xfrm>
            <a:off x="6588945" y="3212686"/>
            <a:ext cx="5209345" cy="3196797"/>
          </a:xfrm>
          <a:prstGeom prst="rect">
            <a:avLst/>
          </a:prstGeom>
        </p:spPr>
        <p:txBody>
          <a:bodyPr vert="horz" lIns="108878" tIns="54439" rIns="108878" bIns="54439" rtlCol="0" anchor="t" anchorCtr="0">
            <a:noAutofit/>
          </a:bodyPr>
          <a:lstStyle>
            <a:lvl1pPr marL="321340" indent="-321340" algn="l" defTabSz="544388" rtl="0" eaLnBrk="1" latinLnBrk="0" hangingPunct="1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2680" indent="-321340" algn="l" defTabSz="544388" rtl="0" eaLnBrk="1" latinLnBrk="0" hangingPunct="1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0240" indent="-317560" algn="l" defTabSz="544388" rtl="0" eaLnBrk="1" latinLnBrk="0" hangingPunct="1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1580" indent="-321340" algn="l" defTabSz="544388" rtl="0" eaLnBrk="1" latinLnBrk="0" hangingPunct="1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920" indent="-321340" algn="l" defTabSz="544388" rtl="0" eaLnBrk="1" latinLnBrk="0" hangingPunct="1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4134" indent="-272194" algn="l" defTabSz="544388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522" indent="-272194" algn="l" defTabSz="544388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910" indent="-272194" algn="l" defTabSz="544388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298" indent="-272194" algn="l" defTabSz="544388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000" dirty="0" smtClean="0"/>
          </a:p>
          <a:p>
            <a:endParaRPr lang="de-DE" sz="2000" dirty="0"/>
          </a:p>
          <a:p>
            <a:r>
              <a:rPr lang="de-DE" sz="2000" dirty="0" smtClean="0"/>
              <a:t>Testmethoden</a:t>
            </a:r>
            <a:endParaRPr lang="de-DE" sz="2000" dirty="0"/>
          </a:p>
          <a:p>
            <a:pPr lvl="1"/>
            <a:r>
              <a:rPr lang="de-DE" sz="1800" dirty="0"/>
              <a:t>Simulation des Verhaltens</a:t>
            </a:r>
            <a:endParaRPr lang="de-DE" sz="2000" dirty="0"/>
          </a:p>
          <a:p>
            <a:pPr lvl="1"/>
            <a:r>
              <a:rPr lang="de-DE" sz="1800" dirty="0"/>
              <a:t>Komponententests in Klimakammer</a:t>
            </a:r>
            <a:endParaRPr lang="de-DE" sz="2000" dirty="0"/>
          </a:p>
          <a:p>
            <a:pPr lvl="1"/>
            <a:r>
              <a:rPr lang="de-DE" sz="1800" dirty="0"/>
              <a:t>Gesamtsystemtest im Feld (Kühlhaus)</a:t>
            </a:r>
            <a:endParaRPr lang="de-DE" sz="2000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2065139" y="3534688"/>
            <a:ext cx="3199625" cy="1845820"/>
            <a:chOff x="7404429" y="1534486"/>
            <a:chExt cx="3199625" cy="1845820"/>
          </a:xfrm>
        </p:grpSpPr>
        <p:grpSp>
          <p:nvGrpSpPr>
            <p:cNvPr id="4" name="Gruppieren 3"/>
            <p:cNvGrpSpPr/>
            <p:nvPr/>
          </p:nvGrpSpPr>
          <p:grpSpPr>
            <a:xfrm>
              <a:off x="7537747" y="2361255"/>
              <a:ext cx="1019050" cy="1019051"/>
              <a:chOff x="4862513" y="936625"/>
              <a:chExt cx="1833562" cy="1833563"/>
            </a:xfrm>
          </p:grpSpPr>
          <p:sp>
            <p:nvSpPr>
              <p:cNvPr id="23" name="Freeform 13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862513" y="936625"/>
                <a:ext cx="1833562" cy="1833563"/>
              </a:xfrm>
              <a:custGeom>
                <a:avLst/>
                <a:gdLst>
                  <a:gd name="T0" fmla="*/ 5030 w 5094"/>
                  <a:gd name="T1" fmla="*/ 2188 h 5094"/>
                  <a:gd name="T2" fmla="*/ 5030 w 5094"/>
                  <a:gd name="T3" fmla="*/ 2188 h 5094"/>
                  <a:gd name="T4" fmla="*/ 4499 w 5094"/>
                  <a:gd name="T5" fmla="*/ 2032 h 5094"/>
                  <a:gd name="T6" fmla="*/ 4280 w 5094"/>
                  <a:gd name="T7" fmla="*/ 1500 h 5094"/>
                  <a:gd name="T8" fmla="*/ 4561 w 5094"/>
                  <a:gd name="T9" fmla="*/ 1063 h 5094"/>
                  <a:gd name="T10" fmla="*/ 4561 w 5094"/>
                  <a:gd name="T11" fmla="*/ 969 h 5094"/>
                  <a:gd name="T12" fmla="*/ 4124 w 5094"/>
                  <a:gd name="T13" fmla="*/ 532 h 5094"/>
                  <a:gd name="T14" fmla="*/ 4030 w 5094"/>
                  <a:gd name="T15" fmla="*/ 532 h 5094"/>
                  <a:gd name="T16" fmla="*/ 3593 w 5094"/>
                  <a:gd name="T17" fmla="*/ 813 h 5094"/>
                  <a:gd name="T18" fmla="*/ 3030 w 5094"/>
                  <a:gd name="T19" fmla="*/ 563 h 5094"/>
                  <a:gd name="T20" fmla="*/ 2905 w 5094"/>
                  <a:gd name="T21" fmla="*/ 63 h 5094"/>
                  <a:gd name="T22" fmla="*/ 2843 w 5094"/>
                  <a:gd name="T23" fmla="*/ 0 h 5094"/>
                  <a:gd name="T24" fmla="*/ 2250 w 5094"/>
                  <a:gd name="T25" fmla="*/ 0 h 5094"/>
                  <a:gd name="T26" fmla="*/ 2156 w 5094"/>
                  <a:gd name="T27" fmla="*/ 63 h 5094"/>
                  <a:gd name="T28" fmla="*/ 2031 w 5094"/>
                  <a:gd name="T29" fmla="*/ 563 h 5094"/>
                  <a:gd name="T30" fmla="*/ 1500 w 5094"/>
                  <a:gd name="T31" fmla="*/ 813 h 5094"/>
                  <a:gd name="T32" fmla="*/ 1031 w 5094"/>
                  <a:gd name="T33" fmla="*/ 532 h 5094"/>
                  <a:gd name="T34" fmla="*/ 969 w 5094"/>
                  <a:gd name="T35" fmla="*/ 532 h 5094"/>
                  <a:gd name="T36" fmla="*/ 531 w 5094"/>
                  <a:gd name="T37" fmla="*/ 969 h 5094"/>
                  <a:gd name="T38" fmla="*/ 531 w 5094"/>
                  <a:gd name="T39" fmla="*/ 1063 h 5094"/>
                  <a:gd name="T40" fmla="*/ 812 w 5094"/>
                  <a:gd name="T41" fmla="*/ 1500 h 5094"/>
                  <a:gd name="T42" fmla="*/ 562 w 5094"/>
                  <a:gd name="T43" fmla="*/ 2063 h 5094"/>
                  <a:gd name="T44" fmla="*/ 62 w 5094"/>
                  <a:gd name="T45" fmla="*/ 2188 h 5094"/>
                  <a:gd name="T46" fmla="*/ 0 w 5094"/>
                  <a:gd name="T47" fmla="*/ 2250 h 5094"/>
                  <a:gd name="T48" fmla="*/ 0 w 5094"/>
                  <a:gd name="T49" fmla="*/ 2874 h 5094"/>
                  <a:gd name="T50" fmla="*/ 62 w 5094"/>
                  <a:gd name="T51" fmla="*/ 2937 h 5094"/>
                  <a:gd name="T52" fmla="*/ 562 w 5094"/>
                  <a:gd name="T53" fmla="*/ 3062 h 5094"/>
                  <a:gd name="T54" fmla="*/ 812 w 5094"/>
                  <a:gd name="T55" fmla="*/ 3593 h 5094"/>
                  <a:gd name="T56" fmla="*/ 531 w 5094"/>
                  <a:gd name="T57" fmla="*/ 4062 h 5094"/>
                  <a:gd name="T58" fmla="*/ 531 w 5094"/>
                  <a:gd name="T59" fmla="*/ 4124 h 5094"/>
                  <a:gd name="T60" fmla="*/ 969 w 5094"/>
                  <a:gd name="T61" fmla="*/ 4562 h 5094"/>
                  <a:gd name="T62" fmla="*/ 1031 w 5094"/>
                  <a:gd name="T63" fmla="*/ 4593 h 5094"/>
                  <a:gd name="T64" fmla="*/ 1500 w 5094"/>
                  <a:gd name="T65" fmla="*/ 4312 h 5094"/>
                  <a:gd name="T66" fmla="*/ 2031 w 5094"/>
                  <a:gd name="T67" fmla="*/ 4531 h 5094"/>
                  <a:gd name="T68" fmla="*/ 2187 w 5094"/>
                  <a:gd name="T69" fmla="*/ 5062 h 5094"/>
                  <a:gd name="T70" fmla="*/ 2250 w 5094"/>
                  <a:gd name="T71" fmla="*/ 5093 h 5094"/>
                  <a:gd name="T72" fmla="*/ 2843 w 5094"/>
                  <a:gd name="T73" fmla="*/ 5093 h 5094"/>
                  <a:gd name="T74" fmla="*/ 2936 w 5094"/>
                  <a:gd name="T75" fmla="*/ 5062 h 5094"/>
                  <a:gd name="T76" fmla="*/ 3061 w 5094"/>
                  <a:gd name="T77" fmla="*/ 4531 h 5094"/>
                  <a:gd name="T78" fmla="*/ 3593 w 5094"/>
                  <a:gd name="T79" fmla="*/ 4312 h 5094"/>
                  <a:gd name="T80" fmla="*/ 4061 w 5094"/>
                  <a:gd name="T81" fmla="*/ 4593 h 5094"/>
                  <a:gd name="T82" fmla="*/ 4124 w 5094"/>
                  <a:gd name="T83" fmla="*/ 4562 h 5094"/>
                  <a:gd name="T84" fmla="*/ 4561 w 5094"/>
                  <a:gd name="T85" fmla="*/ 4124 h 5094"/>
                  <a:gd name="T86" fmla="*/ 4561 w 5094"/>
                  <a:gd name="T87" fmla="*/ 4062 h 5094"/>
                  <a:gd name="T88" fmla="*/ 4311 w 5094"/>
                  <a:gd name="T89" fmla="*/ 3593 h 5094"/>
                  <a:gd name="T90" fmla="*/ 4530 w 5094"/>
                  <a:gd name="T91" fmla="*/ 3062 h 5094"/>
                  <a:gd name="T92" fmla="*/ 5030 w 5094"/>
                  <a:gd name="T93" fmla="*/ 2937 h 5094"/>
                  <a:gd name="T94" fmla="*/ 5093 w 5094"/>
                  <a:gd name="T95" fmla="*/ 2874 h 5094"/>
                  <a:gd name="T96" fmla="*/ 5093 w 5094"/>
                  <a:gd name="T97" fmla="*/ 2250 h 5094"/>
                  <a:gd name="T98" fmla="*/ 5030 w 5094"/>
                  <a:gd name="T99" fmla="*/ 2188 h 50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094" h="5094">
                    <a:moveTo>
                      <a:pt x="5030" y="2188"/>
                    </a:moveTo>
                    <a:lnTo>
                      <a:pt x="5030" y="2188"/>
                    </a:lnTo>
                    <a:cubicBezTo>
                      <a:pt x="4499" y="2032"/>
                      <a:pt x="4499" y="2032"/>
                      <a:pt x="4499" y="2032"/>
                    </a:cubicBezTo>
                    <a:cubicBezTo>
                      <a:pt x="4468" y="1844"/>
                      <a:pt x="4374" y="1657"/>
                      <a:pt x="4280" y="1500"/>
                    </a:cubicBezTo>
                    <a:cubicBezTo>
                      <a:pt x="4561" y="1063"/>
                      <a:pt x="4561" y="1063"/>
                      <a:pt x="4561" y="1063"/>
                    </a:cubicBezTo>
                    <a:cubicBezTo>
                      <a:pt x="4593" y="1032"/>
                      <a:pt x="4593" y="1000"/>
                      <a:pt x="4561" y="969"/>
                    </a:cubicBezTo>
                    <a:cubicBezTo>
                      <a:pt x="4124" y="532"/>
                      <a:pt x="4124" y="532"/>
                      <a:pt x="4124" y="532"/>
                    </a:cubicBezTo>
                    <a:cubicBezTo>
                      <a:pt x="4093" y="500"/>
                      <a:pt x="4061" y="500"/>
                      <a:pt x="4030" y="532"/>
                    </a:cubicBezTo>
                    <a:cubicBezTo>
                      <a:pt x="3593" y="813"/>
                      <a:pt x="3593" y="813"/>
                      <a:pt x="3593" y="813"/>
                    </a:cubicBezTo>
                    <a:cubicBezTo>
                      <a:pt x="3405" y="688"/>
                      <a:pt x="3249" y="625"/>
                      <a:pt x="3030" y="563"/>
                    </a:cubicBezTo>
                    <a:cubicBezTo>
                      <a:pt x="2905" y="63"/>
                      <a:pt x="2905" y="63"/>
                      <a:pt x="2905" y="63"/>
                    </a:cubicBezTo>
                    <a:cubicBezTo>
                      <a:pt x="2905" y="32"/>
                      <a:pt x="2874" y="0"/>
                      <a:pt x="2843" y="0"/>
                    </a:cubicBezTo>
                    <a:cubicBezTo>
                      <a:pt x="2250" y="0"/>
                      <a:pt x="2250" y="0"/>
                      <a:pt x="2250" y="0"/>
                    </a:cubicBezTo>
                    <a:cubicBezTo>
                      <a:pt x="2219" y="0"/>
                      <a:pt x="2187" y="32"/>
                      <a:pt x="2156" y="63"/>
                    </a:cubicBezTo>
                    <a:cubicBezTo>
                      <a:pt x="2031" y="563"/>
                      <a:pt x="2031" y="563"/>
                      <a:pt x="2031" y="563"/>
                    </a:cubicBezTo>
                    <a:cubicBezTo>
                      <a:pt x="1844" y="625"/>
                      <a:pt x="1656" y="688"/>
                      <a:pt x="1500" y="813"/>
                    </a:cubicBezTo>
                    <a:cubicBezTo>
                      <a:pt x="1031" y="532"/>
                      <a:pt x="1031" y="532"/>
                      <a:pt x="1031" y="532"/>
                    </a:cubicBezTo>
                    <a:cubicBezTo>
                      <a:pt x="1031" y="500"/>
                      <a:pt x="969" y="500"/>
                      <a:pt x="969" y="532"/>
                    </a:cubicBezTo>
                    <a:cubicBezTo>
                      <a:pt x="531" y="969"/>
                      <a:pt x="531" y="969"/>
                      <a:pt x="531" y="969"/>
                    </a:cubicBezTo>
                    <a:cubicBezTo>
                      <a:pt x="500" y="1000"/>
                      <a:pt x="500" y="1032"/>
                      <a:pt x="531" y="1063"/>
                    </a:cubicBezTo>
                    <a:cubicBezTo>
                      <a:pt x="812" y="1500"/>
                      <a:pt x="812" y="1500"/>
                      <a:pt x="812" y="1500"/>
                    </a:cubicBezTo>
                    <a:cubicBezTo>
                      <a:pt x="687" y="1688"/>
                      <a:pt x="625" y="1844"/>
                      <a:pt x="562" y="2063"/>
                    </a:cubicBezTo>
                    <a:cubicBezTo>
                      <a:pt x="62" y="2188"/>
                      <a:pt x="62" y="2188"/>
                      <a:pt x="62" y="2188"/>
                    </a:cubicBezTo>
                    <a:cubicBezTo>
                      <a:pt x="31" y="2188"/>
                      <a:pt x="0" y="2219"/>
                      <a:pt x="0" y="2250"/>
                    </a:cubicBezTo>
                    <a:cubicBezTo>
                      <a:pt x="0" y="2874"/>
                      <a:pt x="0" y="2874"/>
                      <a:pt x="0" y="2874"/>
                    </a:cubicBezTo>
                    <a:cubicBezTo>
                      <a:pt x="0" y="2874"/>
                      <a:pt x="31" y="2906"/>
                      <a:pt x="62" y="2937"/>
                    </a:cubicBezTo>
                    <a:cubicBezTo>
                      <a:pt x="562" y="3062"/>
                      <a:pt x="562" y="3062"/>
                      <a:pt x="562" y="3062"/>
                    </a:cubicBezTo>
                    <a:cubicBezTo>
                      <a:pt x="625" y="3249"/>
                      <a:pt x="687" y="3437"/>
                      <a:pt x="812" y="3593"/>
                    </a:cubicBezTo>
                    <a:cubicBezTo>
                      <a:pt x="531" y="4062"/>
                      <a:pt x="531" y="4062"/>
                      <a:pt x="531" y="4062"/>
                    </a:cubicBezTo>
                    <a:cubicBezTo>
                      <a:pt x="500" y="4093"/>
                      <a:pt x="500" y="4124"/>
                      <a:pt x="531" y="4124"/>
                    </a:cubicBezTo>
                    <a:cubicBezTo>
                      <a:pt x="969" y="4562"/>
                      <a:pt x="969" y="4562"/>
                      <a:pt x="969" y="4562"/>
                    </a:cubicBezTo>
                    <a:cubicBezTo>
                      <a:pt x="969" y="4593"/>
                      <a:pt x="1031" y="4593"/>
                      <a:pt x="1031" y="4593"/>
                    </a:cubicBezTo>
                    <a:cubicBezTo>
                      <a:pt x="1500" y="4312"/>
                      <a:pt x="1500" y="4312"/>
                      <a:pt x="1500" y="4312"/>
                    </a:cubicBezTo>
                    <a:cubicBezTo>
                      <a:pt x="1656" y="4406"/>
                      <a:pt x="1844" y="4468"/>
                      <a:pt x="2031" y="4531"/>
                    </a:cubicBezTo>
                    <a:cubicBezTo>
                      <a:pt x="2187" y="5062"/>
                      <a:pt x="2187" y="5062"/>
                      <a:pt x="2187" y="5062"/>
                    </a:cubicBezTo>
                    <a:cubicBezTo>
                      <a:pt x="2187" y="5062"/>
                      <a:pt x="2219" y="5093"/>
                      <a:pt x="2250" y="5093"/>
                    </a:cubicBezTo>
                    <a:cubicBezTo>
                      <a:pt x="2843" y="5093"/>
                      <a:pt x="2843" y="5093"/>
                      <a:pt x="2843" y="5093"/>
                    </a:cubicBezTo>
                    <a:cubicBezTo>
                      <a:pt x="2874" y="5093"/>
                      <a:pt x="2905" y="5062"/>
                      <a:pt x="2936" y="5062"/>
                    </a:cubicBezTo>
                    <a:cubicBezTo>
                      <a:pt x="3061" y="4531"/>
                      <a:pt x="3061" y="4531"/>
                      <a:pt x="3061" y="4531"/>
                    </a:cubicBezTo>
                    <a:cubicBezTo>
                      <a:pt x="3249" y="4468"/>
                      <a:pt x="3436" y="4406"/>
                      <a:pt x="3593" y="4312"/>
                    </a:cubicBezTo>
                    <a:cubicBezTo>
                      <a:pt x="4061" y="4593"/>
                      <a:pt x="4061" y="4593"/>
                      <a:pt x="4061" y="4593"/>
                    </a:cubicBezTo>
                    <a:cubicBezTo>
                      <a:pt x="4061" y="4593"/>
                      <a:pt x="4124" y="4593"/>
                      <a:pt x="4124" y="4562"/>
                    </a:cubicBezTo>
                    <a:cubicBezTo>
                      <a:pt x="4561" y="4124"/>
                      <a:pt x="4561" y="4124"/>
                      <a:pt x="4561" y="4124"/>
                    </a:cubicBezTo>
                    <a:cubicBezTo>
                      <a:pt x="4593" y="4124"/>
                      <a:pt x="4593" y="4093"/>
                      <a:pt x="4561" y="4062"/>
                    </a:cubicBezTo>
                    <a:cubicBezTo>
                      <a:pt x="4311" y="3593"/>
                      <a:pt x="4311" y="3593"/>
                      <a:pt x="4311" y="3593"/>
                    </a:cubicBezTo>
                    <a:cubicBezTo>
                      <a:pt x="4405" y="3437"/>
                      <a:pt x="4468" y="3249"/>
                      <a:pt x="4530" y="3062"/>
                    </a:cubicBezTo>
                    <a:cubicBezTo>
                      <a:pt x="5030" y="2937"/>
                      <a:pt x="5030" y="2937"/>
                      <a:pt x="5030" y="2937"/>
                    </a:cubicBezTo>
                    <a:cubicBezTo>
                      <a:pt x="5061" y="2937"/>
                      <a:pt x="5093" y="2906"/>
                      <a:pt x="5093" y="2874"/>
                    </a:cubicBezTo>
                    <a:cubicBezTo>
                      <a:pt x="5093" y="2250"/>
                      <a:pt x="5093" y="2250"/>
                      <a:pt x="5093" y="2250"/>
                    </a:cubicBezTo>
                    <a:cubicBezTo>
                      <a:pt x="5093" y="2219"/>
                      <a:pt x="5061" y="2188"/>
                      <a:pt x="5030" y="2188"/>
                    </a:cubicBezTo>
                  </a:path>
                </a:pathLst>
              </a:custGeom>
              <a:solidFill>
                <a:srgbClr val="21736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4" name="Freeform 13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5391150" y="1622425"/>
                <a:ext cx="820738" cy="427038"/>
              </a:xfrm>
              <a:custGeom>
                <a:avLst/>
                <a:gdLst>
                  <a:gd name="T0" fmla="*/ 2280 w 2281"/>
                  <a:gd name="T1" fmla="*/ 375 h 1187"/>
                  <a:gd name="T2" fmla="*/ 2280 w 2281"/>
                  <a:gd name="T3" fmla="*/ 842 h 1187"/>
                  <a:gd name="T4" fmla="*/ 2092 w 2281"/>
                  <a:gd name="T5" fmla="*/ 842 h 1187"/>
                  <a:gd name="T6" fmla="*/ 2092 w 2281"/>
                  <a:gd name="T7" fmla="*/ 1186 h 1187"/>
                  <a:gd name="T8" fmla="*/ 0 w 2281"/>
                  <a:gd name="T9" fmla="*/ 1186 h 1187"/>
                  <a:gd name="T10" fmla="*/ 0 w 2281"/>
                  <a:gd name="T11" fmla="*/ 0 h 1187"/>
                  <a:gd name="T12" fmla="*/ 2092 w 2281"/>
                  <a:gd name="T13" fmla="*/ 0 h 1187"/>
                  <a:gd name="T14" fmla="*/ 2092 w 2281"/>
                  <a:gd name="T15" fmla="*/ 375 h 1187"/>
                  <a:gd name="T16" fmla="*/ 2280 w 2281"/>
                  <a:gd name="T17" fmla="*/ 375 h 1187"/>
                  <a:gd name="T18" fmla="*/ 218 w 2281"/>
                  <a:gd name="T19" fmla="*/ 936 h 1187"/>
                  <a:gd name="T20" fmla="*/ 1874 w 2281"/>
                  <a:gd name="T21" fmla="*/ 936 h 1187"/>
                  <a:gd name="T22" fmla="*/ 1874 w 2281"/>
                  <a:gd name="T23" fmla="*/ 250 h 1187"/>
                  <a:gd name="T24" fmla="*/ 218 w 2281"/>
                  <a:gd name="T25" fmla="*/ 250 h 1187"/>
                  <a:gd name="T26" fmla="*/ 218 w 2281"/>
                  <a:gd name="T27" fmla="*/ 936 h 1187"/>
                  <a:gd name="T28" fmla="*/ 281 w 2281"/>
                  <a:gd name="T29" fmla="*/ 905 h 1187"/>
                  <a:gd name="T30" fmla="*/ 281 w 2281"/>
                  <a:gd name="T31" fmla="*/ 312 h 1187"/>
                  <a:gd name="T32" fmla="*/ 593 w 2281"/>
                  <a:gd name="T33" fmla="*/ 312 h 1187"/>
                  <a:gd name="T34" fmla="*/ 875 w 2281"/>
                  <a:gd name="T35" fmla="*/ 905 h 1187"/>
                  <a:gd name="T36" fmla="*/ 281 w 2281"/>
                  <a:gd name="T37" fmla="*/ 905 h 1187"/>
                  <a:gd name="T38" fmla="*/ 656 w 2281"/>
                  <a:gd name="T39" fmla="*/ 312 h 1187"/>
                  <a:gd name="T40" fmla="*/ 1155 w 2281"/>
                  <a:gd name="T41" fmla="*/ 312 h 1187"/>
                  <a:gd name="T42" fmla="*/ 1436 w 2281"/>
                  <a:gd name="T43" fmla="*/ 905 h 1187"/>
                  <a:gd name="T44" fmla="*/ 968 w 2281"/>
                  <a:gd name="T45" fmla="*/ 905 h 1187"/>
                  <a:gd name="T46" fmla="*/ 656 w 2281"/>
                  <a:gd name="T47" fmla="*/ 312 h 1187"/>
                  <a:gd name="T48" fmla="*/ 1811 w 2281"/>
                  <a:gd name="T49" fmla="*/ 312 h 1187"/>
                  <a:gd name="T50" fmla="*/ 1811 w 2281"/>
                  <a:gd name="T51" fmla="*/ 905 h 1187"/>
                  <a:gd name="T52" fmla="*/ 1530 w 2281"/>
                  <a:gd name="T53" fmla="*/ 905 h 1187"/>
                  <a:gd name="T54" fmla="*/ 1217 w 2281"/>
                  <a:gd name="T55" fmla="*/ 312 h 1187"/>
                  <a:gd name="T56" fmla="*/ 1811 w 2281"/>
                  <a:gd name="T57" fmla="*/ 312 h 1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281" h="1187">
                    <a:moveTo>
                      <a:pt x="2280" y="375"/>
                    </a:moveTo>
                    <a:lnTo>
                      <a:pt x="2280" y="842"/>
                    </a:lnTo>
                    <a:lnTo>
                      <a:pt x="2092" y="842"/>
                    </a:lnTo>
                    <a:lnTo>
                      <a:pt x="2092" y="1186"/>
                    </a:lnTo>
                    <a:lnTo>
                      <a:pt x="0" y="1186"/>
                    </a:lnTo>
                    <a:lnTo>
                      <a:pt x="0" y="0"/>
                    </a:lnTo>
                    <a:lnTo>
                      <a:pt x="2092" y="0"/>
                    </a:lnTo>
                    <a:lnTo>
                      <a:pt x="2092" y="375"/>
                    </a:lnTo>
                    <a:lnTo>
                      <a:pt x="2280" y="375"/>
                    </a:lnTo>
                    <a:close/>
                    <a:moveTo>
                      <a:pt x="218" y="936"/>
                    </a:moveTo>
                    <a:lnTo>
                      <a:pt x="1874" y="936"/>
                    </a:lnTo>
                    <a:lnTo>
                      <a:pt x="1874" y="250"/>
                    </a:lnTo>
                    <a:lnTo>
                      <a:pt x="218" y="250"/>
                    </a:lnTo>
                    <a:lnTo>
                      <a:pt x="218" y="936"/>
                    </a:lnTo>
                    <a:close/>
                    <a:moveTo>
                      <a:pt x="281" y="905"/>
                    </a:moveTo>
                    <a:lnTo>
                      <a:pt x="281" y="312"/>
                    </a:lnTo>
                    <a:lnTo>
                      <a:pt x="593" y="312"/>
                    </a:lnTo>
                    <a:lnTo>
                      <a:pt x="875" y="905"/>
                    </a:lnTo>
                    <a:lnTo>
                      <a:pt x="281" y="905"/>
                    </a:lnTo>
                    <a:close/>
                    <a:moveTo>
                      <a:pt x="656" y="312"/>
                    </a:moveTo>
                    <a:lnTo>
                      <a:pt x="1155" y="312"/>
                    </a:lnTo>
                    <a:lnTo>
                      <a:pt x="1436" y="905"/>
                    </a:lnTo>
                    <a:lnTo>
                      <a:pt x="968" y="905"/>
                    </a:lnTo>
                    <a:lnTo>
                      <a:pt x="656" y="312"/>
                    </a:lnTo>
                    <a:close/>
                    <a:moveTo>
                      <a:pt x="1811" y="312"/>
                    </a:moveTo>
                    <a:lnTo>
                      <a:pt x="1811" y="905"/>
                    </a:lnTo>
                    <a:lnTo>
                      <a:pt x="1530" y="905"/>
                    </a:lnTo>
                    <a:lnTo>
                      <a:pt x="1217" y="312"/>
                    </a:lnTo>
                    <a:lnTo>
                      <a:pt x="1811" y="3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>
              <a:off x="8322359" y="1827402"/>
              <a:ext cx="1056484" cy="1056484"/>
              <a:chOff x="7777407" y="1220465"/>
              <a:chExt cx="2395538" cy="2395538"/>
            </a:xfrm>
          </p:grpSpPr>
          <p:sp>
            <p:nvSpPr>
              <p:cNvPr id="25" name="Freeform 4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7777407" y="1220465"/>
                <a:ext cx="2395538" cy="2395538"/>
              </a:xfrm>
              <a:custGeom>
                <a:avLst/>
                <a:gdLst>
                  <a:gd name="T0" fmla="*/ 6593 w 6656"/>
                  <a:gd name="T1" fmla="*/ 2844 h 6656"/>
                  <a:gd name="T2" fmla="*/ 6593 w 6656"/>
                  <a:gd name="T3" fmla="*/ 2844 h 6656"/>
                  <a:gd name="T4" fmla="*/ 5905 w 6656"/>
                  <a:gd name="T5" fmla="*/ 2656 h 6656"/>
                  <a:gd name="T6" fmla="*/ 5624 w 6656"/>
                  <a:gd name="T7" fmla="*/ 1969 h 6656"/>
                  <a:gd name="T8" fmla="*/ 5968 w 6656"/>
                  <a:gd name="T9" fmla="*/ 1375 h 6656"/>
                  <a:gd name="T10" fmla="*/ 5968 w 6656"/>
                  <a:gd name="T11" fmla="*/ 1250 h 6656"/>
                  <a:gd name="T12" fmla="*/ 5405 w 6656"/>
                  <a:gd name="T13" fmla="*/ 688 h 6656"/>
                  <a:gd name="T14" fmla="*/ 5280 w 6656"/>
                  <a:gd name="T15" fmla="*/ 688 h 6656"/>
                  <a:gd name="T16" fmla="*/ 4686 w 6656"/>
                  <a:gd name="T17" fmla="*/ 1031 h 6656"/>
                  <a:gd name="T18" fmla="*/ 3999 w 6656"/>
                  <a:gd name="T19" fmla="*/ 750 h 6656"/>
                  <a:gd name="T20" fmla="*/ 3811 w 6656"/>
                  <a:gd name="T21" fmla="*/ 63 h 6656"/>
                  <a:gd name="T22" fmla="*/ 3749 w 6656"/>
                  <a:gd name="T23" fmla="*/ 0 h 6656"/>
                  <a:gd name="T24" fmla="*/ 2937 w 6656"/>
                  <a:gd name="T25" fmla="*/ 0 h 6656"/>
                  <a:gd name="T26" fmla="*/ 2844 w 6656"/>
                  <a:gd name="T27" fmla="*/ 63 h 6656"/>
                  <a:gd name="T28" fmla="*/ 2687 w 6656"/>
                  <a:gd name="T29" fmla="*/ 750 h 6656"/>
                  <a:gd name="T30" fmla="*/ 1969 w 6656"/>
                  <a:gd name="T31" fmla="*/ 1031 h 6656"/>
                  <a:gd name="T32" fmla="*/ 1375 w 6656"/>
                  <a:gd name="T33" fmla="*/ 688 h 6656"/>
                  <a:gd name="T34" fmla="*/ 1250 w 6656"/>
                  <a:gd name="T35" fmla="*/ 688 h 6656"/>
                  <a:gd name="T36" fmla="*/ 687 w 6656"/>
                  <a:gd name="T37" fmla="*/ 1250 h 6656"/>
                  <a:gd name="T38" fmla="*/ 687 w 6656"/>
                  <a:gd name="T39" fmla="*/ 1375 h 6656"/>
                  <a:gd name="T40" fmla="*/ 1031 w 6656"/>
                  <a:gd name="T41" fmla="*/ 1969 h 6656"/>
                  <a:gd name="T42" fmla="*/ 750 w 6656"/>
                  <a:gd name="T43" fmla="*/ 2656 h 6656"/>
                  <a:gd name="T44" fmla="*/ 62 w 6656"/>
                  <a:gd name="T45" fmla="*/ 2844 h 6656"/>
                  <a:gd name="T46" fmla="*/ 0 w 6656"/>
                  <a:gd name="T47" fmla="*/ 2906 h 6656"/>
                  <a:gd name="T48" fmla="*/ 0 w 6656"/>
                  <a:gd name="T49" fmla="*/ 3718 h 6656"/>
                  <a:gd name="T50" fmla="*/ 62 w 6656"/>
                  <a:gd name="T51" fmla="*/ 3812 h 6656"/>
                  <a:gd name="T52" fmla="*/ 750 w 6656"/>
                  <a:gd name="T53" fmla="*/ 3968 h 6656"/>
                  <a:gd name="T54" fmla="*/ 1031 w 6656"/>
                  <a:gd name="T55" fmla="*/ 4687 h 6656"/>
                  <a:gd name="T56" fmla="*/ 687 w 6656"/>
                  <a:gd name="T57" fmla="*/ 5280 h 6656"/>
                  <a:gd name="T58" fmla="*/ 687 w 6656"/>
                  <a:gd name="T59" fmla="*/ 5405 h 6656"/>
                  <a:gd name="T60" fmla="*/ 1250 w 6656"/>
                  <a:gd name="T61" fmla="*/ 5968 h 6656"/>
                  <a:gd name="T62" fmla="*/ 1375 w 6656"/>
                  <a:gd name="T63" fmla="*/ 5968 h 6656"/>
                  <a:gd name="T64" fmla="*/ 1969 w 6656"/>
                  <a:gd name="T65" fmla="*/ 5624 h 6656"/>
                  <a:gd name="T66" fmla="*/ 2656 w 6656"/>
                  <a:gd name="T67" fmla="*/ 5905 h 6656"/>
                  <a:gd name="T68" fmla="*/ 2844 w 6656"/>
                  <a:gd name="T69" fmla="*/ 6593 h 6656"/>
                  <a:gd name="T70" fmla="*/ 2906 w 6656"/>
                  <a:gd name="T71" fmla="*/ 6655 h 6656"/>
                  <a:gd name="T72" fmla="*/ 3718 w 6656"/>
                  <a:gd name="T73" fmla="*/ 6655 h 6656"/>
                  <a:gd name="T74" fmla="*/ 3811 w 6656"/>
                  <a:gd name="T75" fmla="*/ 6593 h 6656"/>
                  <a:gd name="T76" fmla="*/ 3968 w 6656"/>
                  <a:gd name="T77" fmla="*/ 5905 h 6656"/>
                  <a:gd name="T78" fmla="*/ 4686 w 6656"/>
                  <a:gd name="T79" fmla="*/ 5624 h 6656"/>
                  <a:gd name="T80" fmla="*/ 5280 w 6656"/>
                  <a:gd name="T81" fmla="*/ 5968 h 6656"/>
                  <a:gd name="T82" fmla="*/ 5374 w 6656"/>
                  <a:gd name="T83" fmla="*/ 5968 h 6656"/>
                  <a:gd name="T84" fmla="*/ 5968 w 6656"/>
                  <a:gd name="T85" fmla="*/ 5405 h 6656"/>
                  <a:gd name="T86" fmla="*/ 5968 w 6656"/>
                  <a:gd name="T87" fmla="*/ 5280 h 6656"/>
                  <a:gd name="T88" fmla="*/ 5593 w 6656"/>
                  <a:gd name="T89" fmla="*/ 4687 h 6656"/>
                  <a:gd name="T90" fmla="*/ 5905 w 6656"/>
                  <a:gd name="T91" fmla="*/ 3999 h 6656"/>
                  <a:gd name="T92" fmla="*/ 6561 w 6656"/>
                  <a:gd name="T93" fmla="*/ 3812 h 6656"/>
                  <a:gd name="T94" fmla="*/ 6655 w 6656"/>
                  <a:gd name="T95" fmla="*/ 3749 h 6656"/>
                  <a:gd name="T96" fmla="*/ 6655 w 6656"/>
                  <a:gd name="T97" fmla="*/ 2938 h 6656"/>
                  <a:gd name="T98" fmla="*/ 6593 w 6656"/>
                  <a:gd name="T99" fmla="*/ 2844 h 6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656" h="6656">
                    <a:moveTo>
                      <a:pt x="6593" y="2844"/>
                    </a:moveTo>
                    <a:lnTo>
                      <a:pt x="6593" y="2844"/>
                    </a:lnTo>
                    <a:cubicBezTo>
                      <a:pt x="5905" y="2656"/>
                      <a:pt x="5905" y="2656"/>
                      <a:pt x="5905" y="2656"/>
                    </a:cubicBezTo>
                    <a:cubicBezTo>
                      <a:pt x="5843" y="2406"/>
                      <a:pt x="5749" y="2188"/>
                      <a:pt x="5624" y="1969"/>
                    </a:cubicBezTo>
                    <a:cubicBezTo>
                      <a:pt x="5968" y="1375"/>
                      <a:pt x="5968" y="1375"/>
                      <a:pt x="5968" y="1375"/>
                    </a:cubicBezTo>
                    <a:cubicBezTo>
                      <a:pt x="5999" y="1344"/>
                      <a:pt x="5999" y="1281"/>
                      <a:pt x="5968" y="1250"/>
                    </a:cubicBezTo>
                    <a:cubicBezTo>
                      <a:pt x="5405" y="688"/>
                      <a:pt x="5405" y="688"/>
                      <a:pt x="5405" y="688"/>
                    </a:cubicBezTo>
                    <a:cubicBezTo>
                      <a:pt x="5374" y="656"/>
                      <a:pt x="5311" y="656"/>
                      <a:pt x="5280" y="688"/>
                    </a:cubicBezTo>
                    <a:cubicBezTo>
                      <a:pt x="4686" y="1031"/>
                      <a:pt x="4686" y="1031"/>
                      <a:pt x="4686" y="1031"/>
                    </a:cubicBezTo>
                    <a:cubicBezTo>
                      <a:pt x="4468" y="906"/>
                      <a:pt x="4249" y="813"/>
                      <a:pt x="3999" y="750"/>
                    </a:cubicBezTo>
                    <a:cubicBezTo>
                      <a:pt x="3811" y="63"/>
                      <a:pt x="3811" y="63"/>
                      <a:pt x="3811" y="63"/>
                    </a:cubicBezTo>
                    <a:cubicBezTo>
                      <a:pt x="3811" y="31"/>
                      <a:pt x="3780" y="0"/>
                      <a:pt x="3749" y="0"/>
                    </a:cubicBezTo>
                    <a:cubicBezTo>
                      <a:pt x="2937" y="0"/>
                      <a:pt x="2937" y="0"/>
                      <a:pt x="2937" y="0"/>
                    </a:cubicBezTo>
                    <a:cubicBezTo>
                      <a:pt x="2875" y="0"/>
                      <a:pt x="2844" y="31"/>
                      <a:pt x="2844" y="63"/>
                    </a:cubicBezTo>
                    <a:cubicBezTo>
                      <a:pt x="2687" y="750"/>
                      <a:pt x="2687" y="750"/>
                      <a:pt x="2687" y="750"/>
                    </a:cubicBezTo>
                    <a:cubicBezTo>
                      <a:pt x="2437" y="813"/>
                      <a:pt x="2187" y="906"/>
                      <a:pt x="1969" y="1031"/>
                    </a:cubicBezTo>
                    <a:cubicBezTo>
                      <a:pt x="1375" y="688"/>
                      <a:pt x="1375" y="688"/>
                      <a:pt x="1375" y="688"/>
                    </a:cubicBezTo>
                    <a:cubicBezTo>
                      <a:pt x="1344" y="656"/>
                      <a:pt x="1281" y="656"/>
                      <a:pt x="1250" y="688"/>
                    </a:cubicBezTo>
                    <a:cubicBezTo>
                      <a:pt x="687" y="1250"/>
                      <a:pt x="687" y="1250"/>
                      <a:pt x="687" y="1250"/>
                    </a:cubicBezTo>
                    <a:cubicBezTo>
                      <a:pt x="656" y="1281"/>
                      <a:pt x="656" y="1344"/>
                      <a:pt x="687" y="1375"/>
                    </a:cubicBezTo>
                    <a:cubicBezTo>
                      <a:pt x="1031" y="1969"/>
                      <a:pt x="1031" y="1969"/>
                      <a:pt x="1031" y="1969"/>
                    </a:cubicBezTo>
                    <a:cubicBezTo>
                      <a:pt x="906" y="2188"/>
                      <a:pt x="812" y="2406"/>
                      <a:pt x="750" y="2656"/>
                    </a:cubicBezTo>
                    <a:cubicBezTo>
                      <a:pt x="62" y="2844"/>
                      <a:pt x="62" y="2844"/>
                      <a:pt x="62" y="2844"/>
                    </a:cubicBezTo>
                    <a:cubicBezTo>
                      <a:pt x="31" y="2844"/>
                      <a:pt x="0" y="2875"/>
                      <a:pt x="0" y="2906"/>
                    </a:cubicBezTo>
                    <a:cubicBezTo>
                      <a:pt x="0" y="3718"/>
                      <a:pt x="0" y="3718"/>
                      <a:pt x="0" y="3718"/>
                    </a:cubicBezTo>
                    <a:cubicBezTo>
                      <a:pt x="0" y="3749"/>
                      <a:pt x="31" y="3812"/>
                      <a:pt x="62" y="3812"/>
                    </a:cubicBezTo>
                    <a:cubicBezTo>
                      <a:pt x="750" y="3968"/>
                      <a:pt x="750" y="3968"/>
                      <a:pt x="750" y="3968"/>
                    </a:cubicBezTo>
                    <a:cubicBezTo>
                      <a:pt x="812" y="4218"/>
                      <a:pt x="906" y="4468"/>
                      <a:pt x="1031" y="4687"/>
                    </a:cubicBezTo>
                    <a:cubicBezTo>
                      <a:pt x="687" y="5280"/>
                      <a:pt x="687" y="5280"/>
                      <a:pt x="687" y="5280"/>
                    </a:cubicBezTo>
                    <a:cubicBezTo>
                      <a:pt x="656" y="5312"/>
                      <a:pt x="656" y="5374"/>
                      <a:pt x="687" y="5405"/>
                    </a:cubicBezTo>
                    <a:cubicBezTo>
                      <a:pt x="1250" y="5968"/>
                      <a:pt x="1250" y="5968"/>
                      <a:pt x="1250" y="5968"/>
                    </a:cubicBezTo>
                    <a:cubicBezTo>
                      <a:pt x="1281" y="5999"/>
                      <a:pt x="1344" y="5999"/>
                      <a:pt x="1375" y="5968"/>
                    </a:cubicBezTo>
                    <a:cubicBezTo>
                      <a:pt x="1969" y="5624"/>
                      <a:pt x="1969" y="5624"/>
                      <a:pt x="1969" y="5624"/>
                    </a:cubicBezTo>
                    <a:cubicBezTo>
                      <a:pt x="2187" y="5749"/>
                      <a:pt x="2406" y="5843"/>
                      <a:pt x="2656" y="5905"/>
                    </a:cubicBezTo>
                    <a:cubicBezTo>
                      <a:pt x="2844" y="6593"/>
                      <a:pt x="2844" y="6593"/>
                      <a:pt x="2844" y="6593"/>
                    </a:cubicBezTo>
                    <a:cubicBezTo>
                      <a:pt x="2844" y="6624"/>
                      <a:pt x="2875" y="6655"/>
                      <a:pt x="2906" y="6655"/>
                    </a:cubicBezTo>
                    <a:cubicBezTo>
                      <a:pt x="3718" y="6655"/>
                      <a:pt x="3718" y="6655"/>
                      <a:pt x="3718" y="6655"/>
                    </a:cubicBezTo>
                    <a:cubicBezTo>
                      <a:pt x="3749" y="6655"/>
                      <a:pt x="3811" y="6624"/>
                      <a:pt x="3811" y="6593"/>
                    </a:cubicBezTo>
                    <a:cubicBezTo>
                      <a:pt x="3968" y="5905"/>
                      <a:pt x="3968" y="5905"/>
                      <a:pt x="3968" y="5905"/>
                    </a:cubicBezTo>
                    <a:cubicBezTo>
                      <a:pt x="4218" y="5843"/>
                      <a:pt x="4468" y="5749"/>
                      <a:pt x="4686" y="5624"/>
                    </a:cubicBezTo>
                    <a:cubicBezTo>
                      <a:pt x="5280" y="5968"/>
                      <a:pt x="5280" y="5968"/>
                      <a:pt x="5280" y="5968"/>
                    </a:cubicBezTo>
                    <a:cubicBezTo>
                      <a:pt x="5311" y="5999"/>
                      <a:pt x="5343" y="5999"/>
                      <a:pt x="5374" y="5968"/>
                    </a:cubicBezTo>
                    <a:cubicBezTo>
                      <a:pt x="5968" y="5405"/>
                      <a:pt x="5968" y="5405"/>
                      <a:pt x="5968" y="5405"/>
                    </a:cubicBezTo>
                    <a:cubicBezTo>
                      <a:pt x="5968" y="5374"/>
                      <a:pt x="5999" y="5312"/>
                      <a:pt x="5968" y="5280"/>
                    </a:cubicBezTo>
                    <a:cubicBezTo>
                      <a:pt x="5593" y="4687"/>
                      <a:pt x="5593" y="4687"/>
                      <a:pt x="5593" y="4687"/>
                    </a:cubicBezTo>
                    <a:cubicBezTo>
                      <a:pt x="5749" y="4468"/>
                      <a:pt x="5843" y="4249"/>
                      <a:pt x="5905" y="3999"/>
                    </a:cubicBezTo>
                    <a:cubicBezTo>
                      <a:pt x="6561" y="3812"/>
                      <a:pt x="6561" y="3812"/>
                      <a:pt x="6561" y="3812"/>
                    </a:cubicBezTo>
                    <a:cubicBezTo>
                      <a:pt x="6624" y="3812"/>
                      <a:pt x="6655" y="3780"/>
                      <a:pt x="6655" y="3749"/>
                    </a:cubicBezTo>
                    <a:cubicBezTo>
                      <a:pt x="6655" y="2938"/>
                      <a:pt x="6655" y="2938"/>
                      <a:pt x="6655" y="2938"/>
                    </a:cubicBezTo>
                    <a:cubicBezTo>
                      <a:pt x="6655" y="2875"/>
                      <a:pt x="6624" y="2844"/>
                      <a:pt x="6593" y="2844"/>
                    </a:cubicBezTo>
                  </a:path>
                </a:pathLst>
              </a:custGeom>
              <a:solidFill>
                <a:srgbClr val="FFCC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6" name="Freeform 4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8812457" y="1918965"/>
                <a:ext cx="696913" cy="696913"/>
              </a:xfrm>
              <a:custGeom>
                <a:avLst/>
                <a:gdLst>
                  <a:gd name="T0" fmla="*/ 62 w 1937"/>
                  <a:gd name="T1" fmla="*/ 468 h 1937"/>
                  <a:gd name="T2" fmla="*/ 62 w 1937"/>
                  <a:gd name="T3" fmla="*/ 468 h 1937"/>
                  <a:gd name="T4" fmla="*/ 250 w 1937"/>
                  <a:gd name="T5" fmla="*/ 656 h 1937"/>
                  <a:gd name="T6" fmla="*/ 530 w 1937"/>
                  <a:gd name="T7" fmla="*/ 593 h 1937"/>
                  <a:gd name="T8" fmla="*/ 1343 w 1937"/>
                  <a:gd name="T9" fmla="*/ 1405 h 1937"/>
                  <a:gd name="T10" fmla="*/ 1311 w 1937"/>
                  <a:gd name="T11" fmla="*/ 1686 h 1937"/>
                  <a:gd name="T12" fmla="*/ 1530 w 1937"/>
                  <a:gd name="T13" fmla="*/ 1936 h 1937"/>
                  <a:gd name="T14" fmla="*/ 1624 w 1937"/>
                  <a:gd name="T15" fmla="*/ 1686 h 1937"/>
                  <a:gd name="T16" fmla="*/ 1905 w 1937"/>
                  <a:gd name="T17" fmla="*/ 1624 h 1937"/>
                  <a:gd name="T18" fmla="*/ 1936 w 1937"/>
                  <a:gd name="T19" fmla="*/ 1592 h 1937"/>
                  <a:gd name="T20" fmla="*/ 1936 w 1937"/>
                  <a:gd name="T21" fmla="*/ 1250 h 1937"/>
                  <a:gd name="T22" fmla="*/ 1905 w 1937"/>
                  <a:gd name="T23" fmla="*/ 1218 h 1937"/>
                  <a:gd name="T24" fmla="*/ 1624 w 1937"/>
                  <a:gd name="T25" fmla="*/ 1124 h 1937"/>
                  <a:gd name="T26" fmla="*/ 1499 w 1937"/>
                  <a:gd name="T27" fmla="*/ 843 h 1937"/>
                  <a:gd name="T28" fmla="*/ 1655 w 1937"/>
                  <a:gd name="T29" fmla="*/ 593 h 1937"/>
                  <a:gd name="T30" fmla="*/ 1655 w 1937"/>
                  <a:gd name="T31" fmla="*/ 531 h 1937"/>
                  <a:gd name="T32" fmla="*/ 1405 w 1937"/>
                  <a:gd name="T33" fmla="*/ 281 h 1937"/>
                  <a:gd name="T34" fmla="*/ 1343 w 1937"/>
                  <a:gd name="T35" fmla="*/ 281 h 1937"/>
                  <a:gd name="T36" fmla="*/ 1093 w 1937"/>
                  <a:gd name="T37" fmla="*/ 437 h 1937"/>
                  <a:gd name="T38" fmla="*/ 811 w 1937"/>
                  <a:gd name="T39" fmla="*/ 312 h 1937"/>
                  <a:gd name="T40" fmla="*/ 718 w 1937"/>
                  <a:gd name="T41" fmla="*/ 31 h 1937"/>
                  <a:gd name="T42" fmla="*/ 686 w 1937"/>
                  <a:gd name="T43" fmla="*/ 0 h 1937"/>
                  <a:gd name="T44" fmla="*/ 343 w 1937"/>
                  <a:gd name="T45" fmla="*/ 0 h 1937"/>
                  <a:gd name="T46" fmla="*/ 312 w 1937"/>
                  <a:gd name="T47" fmla="*/ 31 h 1937"/>
                  <a:gd name="T48" fmla="*/ 250 w 1937"/>
                  <a:gd name="T49" fmla="*/ 312 h 1937"/>
                  <a:gd name="T50" fmla="*/ 0 w 1937"/>
                  <a:gd name="T51" fmla="*/ 406 h 1937"/>
                  <a:gd name="T52" fmla="*/ 0 w 1937"/>
                  <a:gd name="T53" fmla="*/ 406 h 1937"/>
                  <a:gd name="T54" fmla="*/ 62 w 1937"/>
                  <a:gd name="T55" fmla="*/ 468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37" h="1937">
                    <a:moveTo>
                      <a:pt x="62" y="468"/>
                    </a:moveTo>
                    <a:lnTo>
                      <a:pt x="62" y="468"/>
                    </a:lnTo>
                    <a:cubicBezTo>
                      <a:pt x="250" y="656"/>
                      <a:pt x="250" y="656"/>
                      <a:pt x="250" y="656"/>
                    </a:cubicBezTo>
                    <a:cubicBezTo>
                      <a:pt x="343" y="625"/>
                      <a:pt x="437" y="593"/>
                      <a:pt x="530" y="593"/>
                    </a:cubicBezTo>
                    <a:cubicBezTo>
                      <a:pt x="968" y="593"/>
                      <a:pt x="1343" y="968"/>
                      <a:pt x="1343" y="1405"/>
                    </a:cubicBezTo>
                    <a:cubicBezTo>
                      <a:pt x="1343" y="1499"/>
                      <a:pt x="1343" y="1592"/>
                      <a:pt x="1311" y="1686"/>
                    </a:cubicBezTo>
                    <a:cubicBezTo>
                      <a:pt x="1530" y="1936"/>
                      <a:pt x="1530" y="1936"/>
                      <a:pt x="1530" y="1936"/>
                    </a:cubicBezTo>
                    <a:cubicBezTo>
                      <a:pt x="1561" y="1842"/>
                      <a:pt x="1593" y="1780"/>
                      <a:pt x="1624" y="1686"/>
                    </a:cubicBezTo>
                    <a:cubicBezTo>
                      <a:pt x="1905" y="1624"/>
                      <a:pt x="1905" y="1624"/>
                      <a:pt x="1905" y="1624"/>
                    </a:cubicBezTo>
                    <a:cubicBezTo>
                      <a:pt x="1936" y="1624"/>
                      <a:pt x="1936" y="1592"/>
                      <a:pt x="1936" y="1592"/>
                    </a:cubicBezTo>
                    <a:cubicBezTo>
                      <a:pt x="1936" y="1250"/>
                      <a:pt x="1936" y="1250"/>
                      <a:pt x="1936" y="1250"/>
                    </a:cubicBezTo>
                    <a:cubicBezTo>
                      <a:pt x="1936" y="1218"/>
                      <a:pt x="1936" y="1218"/>
                      <a:pt x="1905" y="1218"/>
                    </a:cubicBezTo>
                    <a:cubicBezTo>
                      <a:pt x="1624" y="1124"/>
                      <a:pt x="1624" y="1124"/>
                      <a:pt x="1624" y="1124"/>
                    </a:cubicBezTo>
                    <a:cubicBezTo>
                      <a:pt x="1593" y="1031"/>
                      <a:pt x="1561" y="937"/>
                      <a:pt x="1499" y="843"/>
                    </a:cubicBezTo>
                    <a:cubicBezTo>
                      <a:pt x="1655" y="593"/>
                      <a:pt x="1655" y="593"/>
                      <a:pt x="1655" y="593"/>
                    </a:cubicBezTo>
                    <a:cubicBezTo>
                      <a:pt x="1655" y="562"/>
                      <a:pt x="1655" y="562"/>
                      <a:pt x="1655" y="531"/>
                    </a:cubicBezTo>
                    <a:cubicBezTo>
                      <a:pt x="1405" y="281"/>
                      <a:pt x="1405" y="281"/>
                      <a:pt x="1405" y="281"/>
                    </a:cubicBezTo>
                    <a:cubicBezTo>
                      <a:pt x="1374" y="281"/>
                      <a:pt x="1374" y="281"/>
                      <a:pt x="1343" y="281"/>
                    </a:cubicBezTo>
                    <a:cubicBezTo>
                      <a:pt x="1093" y="437"/>
                      <a:pt x="1093" y="437"/>
                      <a:pt x="1093" y="437"/>
                    </a:cubicBezTo>
                    <a:cubicBezTo>
                      <a:pt x="999" y="406"/>
                      <a:pt x="905" y="343"/>
                      <a:pt x="811" y="312"/>
                    </a:cubicBezTo>
                    <a:cubicBezTo>
                      <a:pt x="718" y="31"/>
                      <a:pt x="718" y="31"/>
                      <a:pt x="718" y="31"/>
                    </a:cubicBezTo>
                    <a:cubicBezTo>
                      <a:pt x="718" y="31"/>
                      <a:pt x="718" y="0"/>
                      <a:pt x="686" y="0"/>
                    </a:cubicBezTo>
                    <a:cubicBezTo>
                      <a:pt x="343" y="0"/>
                      <a:pt x="343" y="0"/>
                      <a:pt x="343" y="0"/>
                    </a:cubicBezTo>
                    <a:lnTo>
                      <a:pt x="312" y="31"/>
                    </a:lnTo>
                    <a:cubicBezTo>
                      <a:pt x="250" y="312"/>
                      <a:pt x="250" y="312"/>
                      <a:pt x="250" y="312"/>
                    </a:cubicBezTo>
                    <a:cubicBezTo>
                      <a:pt x="156" y="343"/>
                      <a:pt x="94" y="375"/>
                      <a:pt x="0" y="406"/>
                    </a:cubicBezTo>
                    <a:lnTo>
                      <a:pt x="0" y="406"/>
                    </a:lnTo>
                    <a:cubicBezTo>
                      <a:pt x="31" y="437"/>
                      <a:pt x="62" y="437"/>
                      <a:pt x="62" y="46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7" name="Freeform 4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8496545" y="2244403"/>
                <a:ext cx="696912" cy="696912"/>
              </a:xfrm>
              <a:custGeom>
                <a:avLst/>
                <a:gdLst>
                  <a:gd name="T0" fmla="*/ 1874 w 1937"/>
                  <a:gd name="T1" fmla="*/ 1468 h 1937"/>
                  <a:gd name="T2" fmla="*/ 1874 w 1937"/>
                  <a:gd name="T3" fmla="*/ 1468 h 1937"/>
                  <a:gd name="T4" fmla="*/ 1686 w 1937"/>
                  <a:gd name="T5" fmla="*/ 1280 h 1937"/>
                  <a:gd name="T6" fmla="*/ 1405 w 1937"/>
                  <a:gd name="T7" fmla="*/ 1343 h 1937"/>
                  <a:gd name="T8" fmla="*/ 562 w 1937"/>
                  <a:gd name="T9" fmla="*/ 499 h 1937"/>
                  <a:gd name="T10" fmla="*/ 625 w 1937"/>
                  <a:gd name="T11" fmla="*/ 218 h 1937"/>
                  <a:gd name="T12" fmla="*/ 406 w 1937"/>
                  <a:gd name="T13" fmla="*/ 0 h 1937"/>
                  <a:gd name="T14" fmla="*/ 312 w 1937"/>
                  <a:gd name="T15" fmla="*/ 250 h 1937"/>
                  <a:gd name="T16" fmla="*/ 0 w 1937"/>
                  <a:gd name="T17" fmla="*/ 312 h 1937"/>
                  <a:gd name="T18" fmla="*/ 0 w 1937"/>
                  <a:gd name="T19" fmla="*/ 344 h 1937"/>
                  <a:gd name="T20" fmla="*/ 0 w 1937"/>
                  <a:gd name="T21" fmla="*/ 686 h 1937"/>
                  <a:gd name="T22" fmla="*/ 0 w 1937"/>
                  <a:gd name="T23" fmla="*/ 718 h 1937"/>
                  <a:gd name="T24" fmla="*/ 312 w 1937"/>
                  <a:gd name="T25" fmla="*/ 780 h 1937"/>
                  <a:gd name="T26" fmla="*/ 437 w 1937"/>
                  <a:gd name="T27" fmla="*/ 1093 h 1937"/>
                  <a:gd name="T28" fmla="*/ 281 w 1937"/>
                  <a:gd name="T29" fmla="*/ 1343 h 1937"/>
                  <a:gd name="T30" fmla="*/ 281 w 1937"/>
                  <a:gd name="T31" fmla="*/ 1405 h 1937"/>
                  <a:gd name="T32" fmla="*/ 531 w 1937"/>
                  <a:gd name="T33" fmla="*/ 1624 h 1937"/>
                  <a:gd name="T34" fmla="*/ 562 w 1937"/>
                  <a:gd name="T35" fmla="*/ 1624 h 1937"/>
                  <a:gd name="T36" fmla="*/ 812 w 1937"/>
                  <a:gd name="T37" fmla="*/ 1499 h 1937"/>
                  <a:gd name="T38" fmla="*/ 1125 w 1937"/>
                  <a:gd name="T39" fmla="*/ 1624 h 1937"/>
                  <a:gd name="T40" fmla="*/ 1187 w 1937"/>
                  <a:gd name="T41" fmla="*/ 1905 h 1937"/>
                  <a:gd name="T42" fmla="*/ 1218 w 1937"/>
                  <a:gd name="T43" fmla="*/ 1936 h 1937"/>
                  <a:gd name="T44" fmla="*/ 1561 w 1937"/>
                  <a:gd name="T45" fmla="*/ 1936 h 1937"/>
                  <a:gd name="T46" fmla="*/ 1624 w 1937"/>
                  <a:gd name="T47" fmla="*/ 1905 h 1937"/>
                  <a:gd name="T48" fmla="*/ 1686 w 1937"/>
                  <a:gd name="T49" fmla="*/ 1624 h 1937"/>
                  <a:gd name="T50" fmla="*/ 1936 w 1937"/>
                  <a:gd name="T51" fmla="*/ 1530 h 1937"/>
                  <a:gd name="T52" fmla="*/ 1905 w 1937"/>
                  <a:gd name="T53" fmla="*/ 1499 h 1937"/>
                  <a:gd name="T54" fmla="*/ 1874 w 1937"/>
                  <a:gd name="T55" fmla="*/ 1468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37" h="1937">
                    <a:moveTo>
                      <a:pt x="1874" y="1468"/>
                    </a:moveTo>
                    <a:lnTo>
                      <a:pt x="1874" y="1468"/>
                    </a:lnTo>
                    <a:cubicBezTo>
                      <a:pt x="1686" y="1280"/>
                      <a:pt x="1686" y="1280"/>
                      <a:pt x="1686" y="1280"/>
                    </a:cubicBezTo>
                    <a:cubicBezTo>
                      <a:pt x="1593" y="1311"/>
                      <a:pt x="1499" y="1343"/>
                      <a:pt x="1405" y="1343"/>
                    </a:cubicBezTo>
                    <a:cubicBezTo>
                      <a:pt x="937" y="1343"/>
                      <a:pt x="562" y="968"/>
                      <a:pt x="562" y="499"/>
                    </a:cubicBezTo>
                    <a:cubicBezTo>
                      <a:pt x="562" y="406"/>
                      <a:pt x="594" y="312"/>
                      <a:pt x="625" y="218"/>
                    </a:cubicBezTo>
                    <a:cubicBezTo>
                      <a:pt x="406" y="0"/>
                      <a:pt x="406" y="0"/>
                      <a:pt x="406" y="0"/>
                    </a:cubicBezTo>
                    <a:cubicBezTo>
                      <a:pt x="344" y="62"/>
                      <a:pt x="312" y="156"/>
                      <a:pt x="312" y="250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0" y="312"/>
                      <a:pt x="0" y="312"/>
                      <a:pt x="0" y="344"/>
                    </a:cubicBezTo>
                    <a:cubicBezTo>
                      <a:pt x="0" y="686"/>
                      <a:pt x="0" y="686"/>
                      <a:pt x="0" y="686"/>
                    </a:cubicBezTo>
                    <a:lnTo>
                      <a:pt x="0" y="718"/>
                    </a:lnTo>
                    <a:cubicBezTo>
                      <a:pt x="312" y="780"/>
                      <a:pt x="312" y="780"/>
                      <a:pt x="312" y="780"/>
                    </a:cubicBezTo>
                    <a:cubicBezTo>
                      <a:pt x="344" y="905"/>
                      <a:pt x="375" y="999"/>
                      <a:pt x="437" y="1093"/>
                    </a:cubicBezTo>
                    <a:cubicBezTo>
                      <a:pt x="281" y="1343"/>
                      <a:pt x="281" y="1343"/>
                      <a:pt x="281" y="1343"/>
                    </a:cubicBezTo>
                    <a:cubicBezTo>
                      <a:pt x="250" y="1374"/>
                      <a:pt x="281" y="1374"/>
                      <a:pt x="281" y="1405"/>
                    </a:cubicBezTo>
                    <a:cubicBezTo>
                      <a:pt x="531" y="1624"/>
                      <a:pt x="531" y="1624"/>
                      <a:pt x="531" y="1624"/>
                    </a:cubicBezTo>
                    <a:cubicBezTo>
                      <a:pt x="531" y="1655"/>
                      <a:pt x="562" y="1655"/>
                      <a:pt x="562" y="1624"/>
                    </a:cubicBezTo>
                    <a:cubicBezTo>
                      <a:pt x="812" y="1499"/>
                      <a:pt x="812" y="1499"/>
                      <a:pt x="812" y="1499"/>
                    </a:cubicBezTo>
                    <a:cubicBezTo>
                      <a:pt x="906" y="1530"/>
                      <a:pt x="1000" y="1593"/>
                      <a:pt x="1125" y="1624"/>
                    </a:cubicBezTo>
                    <a:cubicBezTo>
                      <a:pt x="1187" y="1905"/>
                      <a:pt x="1187" y="1905"/>
                      <a:pt x="1187" y="1905"/>
                    </a:cubicBezTo>
                    <a:lnTo>
                      <a:pt x="1218" y="1936"/>
                    </a:lnTo>
                    <a:cubicBezTo>
                      <a:pt x="1561" y="1936"/>
                      <a:pt x="1561" y="1936"/>
                      <a:pt x="1561" y="1936"/>
                    </a:cubicBezTo>
                    <a:cubicBezTo>
                      <a:pt x="1593" y="1936"/>
                      <a:pt x="1593" y="1905"/>
                      <a:pt x="1624" y="1905"/>
                    </a:cubicBezTo>
                    <a:cubicBezTo>
                      <a:pt x="1686" y="1624"/>
                      <a:pt x="1686" y="1624"/>
                      <a:pt x="1686" y="1624"/>
                    </a:cubicBezTo>
                    <a:cubicBezTo>
                      <a:pt x="1749" y="1593"/>
                      <a:pt x="1843" y="1561"/>
                      <a:pt x="1936" y="1530"/>
                    </a:cubicBezTo>
                    <a:cubicBezTo>
                      <a:pt x="1905" y="1499"/>
                      <a:pt x="1905" y="1499"/>
                      <a:pt x="1905" y="1499"/>
                    </a:cubicBezTo>
                    <a:cubicBezTo>
                      <a:pt x="1905" y="1499"/>
                      <a:pt x="1874" y="1499"/>
                      <a:pt x="1874" y="146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8" name="Freeform 4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8418757" y="1839590"/>
                <a:ext cx="1158875" cy="1158875"/>
              </a:xfrm>
              <a:custGeom>
                <a:avLst/>
                <a:gdLst>
                  <a:gd name="T0" fmla="*/ 2718 w 3219"/>
                  <a:gd name="T1" fmla="*/ 2218 h 3219"/>
                  <a:gd name="T2" fmla="*/ 2718 w 3219"/>
                  <a:gd name="T3" fmla="*/ 2218 h 3219"/>
                  <a:gd name="T4" fmla="*/ 2593 w 3219"/>
                  <a:gd name="T5" fmla="*/ 2218 h 3219"/>
                  <a:gd name="T6" fmla="*/ 1094 w 3219"/>
                  <a:gd name="T7" fmla="*/ 687 h 3219"/>
                  <a:gd name="T8" fmla="*/ 1063 w 3219"/>
                  <a:gd name="T9" fmla="*/ 687 h 3219"/>
                  <a:gd name="T10" fmla="*/ 1000 w 3219"/>
                  <a:gd name="T11" fmla="*/ 625 h 3219"/>
                  <a:gd name="T12" fmla="*/ 1031 w 3219"/>
                  <a:gd name="T13" fmla="*/ 531 h 3219"/>
                  <a:gd name="T14" fmla="*/ 500 w 3219"/>
                  <a:gd name="T15" fmla="*/ 0 h 3219"/>
                  <a:gd name="T16" fmla="*/ 406 w 3219"/>
                  <a:gd name="T17" fmla="*/ 31 h 3219"/>
                  <a:gd name="T18" fmla="*/ 406 w 3219"/>
                  <a:gd name="T19" fmla="*/ 94 h 3219"/>
                  <a:gd name="T20" fmla="*/ 688 w 3219"/>
                  <a:gd name="T21" fmla="*/ 375 h 3219"/>
                  <a:gd name="T22" fmla="*/ 688 w 3219"/>
                  <a:gd name="T23" fmla="*/ 437 h 3219"/>
                  <a:gd name="T24" fmla="*/ 438 w 3219"/>
                  <a:gd name="T25" fmla="*/ 719 h 3219"/>
                  <a:gd name="T26" fmla="*/ 375 w 3219"/>
                  <a:gd name="T27" fmla="*/ 719 h 3219"/>
                  <a:gd name="T28" fmla="*/ 63 w 3219"/>
                  <a:gd name="T29" fmla="*/ 406 h 3219"/>
                  <a:gd name="T30" fmla="*/ 0 w 3219"/>
                  <a:gd name="T31" fmla="*/ 437 h 3219"/>
                  <a:gd name="T32" fmla="*/ 0 w 3219"/>
                  <a:gd name="T33" fmla="*/ 500 h 3219"/>
                  <a:gd name="T34" fmla="*/ 500 w 3219"/>
                  <a:gd name="T35" fmla="*/ 1031 h 3219"/>
                  <a:gd name="T36" fmla="*/ 625 w 3219"/>
                  <a:gd name="T37" fmla="*/ 1000 h 3219"/>
                  <a:gd name="T38" fmla="*/ 2124 w 3219"/>
                  <a:gd name="T39" fmla="*/ 2530 h 3219"/>
                  <a:gd name="T40" fmla="*/ 2155 w 3219"/>
                  <a:gd name="T41" fmla="*/ 2561 h 3219"/>
                  <a:gd name="T42" fmla="*/ 2218 w 3219"/>
                  <a:gd name="T43" fmla="*/ 2593 h 3219"/>
                  <a:gd name="T44" fmla="*/ 2187 w 3219"/>
                  <a:gd name="T45" fmla="*/ 2718 h 3219"/>
                  <a:gd name="T46" fmla="*/ 2718 w 3219"/>
                  <a:gd name="T47" fmla="*/ 3218 h 3219"/>
                  <a:gd name="T48" fmla="*/ 2812 w 3219"/>
                  <a:gd name="T49" fmla="*/ 3218 h 3219"/>
                  <a:gd name="T50" fmla="*/ 2812 w 3219"/>
                  <a:gd name="T51" fmla="*/ 3155 h 3219"/>
                  <a:gd name="T52" fmla="*/ 2530 w 3219"/>
                  <a:gd name="T53" fmla="*/ 2843 h 3219"/>
                  <a:gd name="T54" fmla="*/ 2530 w 3219"/>
                  <a:gd name="T55" fmla="*/ 2780 h 3219"/>
                  <a:gd name="T56" fmla="*/ 2780 w 3219"/>
                  <a:gd name="T57" fmla="*/ 2530 h 3219"/>
                  <a:gd name="T58" fmla="*/ 2843 w 3219"/>
                  <a:gd name="T59" fmla="*/ 2530 h 3219"/>
                  <a:gd name="T60" fmla="*/ 3155 w 3219"/>
                  <a:gd name="T61" fmla="*/ 2811 h 3219"/>
                  <a:gd name="T62" fmla="*/ 3218 w 3219"/>
                  <a:gd name="T63" fmla="*/ 2811 h 3219"/>
                  <a:gd name="T64" fmla="*/ 3218 w 3219"/>
                  <a:gd name="T65" fmla="*/ 2718 h 3219"/>
                  <a:gd name="T66" fmla="*/ 2718 w 3219"/>
                  <a:gd name="T67" fmla="*/ 2218 h 3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19" h="3219">
                    <a:moveTo>
                      <a:pt x="2718" y="2218"/>
                    </a:moveTo>
                    <a:lnTo>
                      <a:pt x="2718" y="2218"/>
                    </a:lnTo>
                    <a:cubicBezTo>
                      <a:pt x="2687" y="2218"/>
                      <a:pt x="2655" y="2218"/>
                      <a:pt x="2593" y="2218"/>
                    </a:cubicBezTo>
                    <a:cubicBezTo>
                      <a:pt x="1094" y="687"/>
                      <a:pt x="1094" y="687"/>
                      <a:pt x="1094" y="687"/>
                    </a:cubicBezTo>
                    <a:cubicBezTo>
                      <a:pt x="1063" y="687"/>
                      <a:pt x="1063" y="687"/>
                      <a:pt x="1063" y="687"/>
                    </a:cubicBezTo>
                    <a:cubicBezTo>
                      <a:pt x="1000" y="625"/>
                      <a:pt x="1000" y="625"/>
                      <a:pt x="1000" y="625"/>
                    </a:cubicBezTo>
                    <a:cubicBezTo>
                      <a:pt x="1031" y="594"/>
                      <a:pt x="1031" y="562"/>
                      <a:pt x="1031" y="531"/>
                    </a:cubicBezTo>
                    <a:cubicBezTo>
                      <a:pt x="1031" y="250"/>
                      <a:pt x="781" y="0"/>
                      <a:pt x="500" y="0"/>
                    </a:cubicBezTo>
                    <a:cubicBezTo>
                      <a:pt x="469" y="0"/>
                      <a:pt x="438" y="0"/>
                      <a:pt x="406" y="31"/>
                    </a:cubicBezTo>
                    <a:cubicBezTo>
                      <a:pt x="375" y="31"/>
                      <a:pt x="375" y="62"/>
                      <a:pt x="406" y="94"/>
                    </a:cubicBezTo>
                    <a:cubicBezTo>
                      <a:pt x="688" y="375"/>
                      <a:pt x="688" y="375"/>
                      <a:pt x="688" y="375"/>
                    </a:cubicBezTo>
                    <a:cubicBezTo>
                      <a:pt x="719" y="406"/>
                      <a:pt x="719" y="437"/>
                      <a:pt x="688" y="437"/>
                    </a:cubicBezTo>
                    <a:cubicBezTo>
                      <a:pt x="438" y="719"/>
                      <a:pt x="438" y="719"/>
                      <a:pt x="438" y="719"/>
                    </a:cubicBezTo>
                    <a:cubicBezTo>
                      <a:pt x="406" y="719"/>
                      <a:pt x="375" y="719"/>
                      <a:pt x="375" y="719"/>
                    </a:cubicBezTo>
                    <a:cubicBezTo>
                      <a:pt x="63" y="406"/>
                      <a:pt x="63" y="406"/>
                      <a:pt x="63" y="406"/>
                    </a:cubicBezTo>
                    <a:cubicBezTo>
                      <a:pt x="31" y="375"/>
                      <a:pt x="0" y="406"/>
                      <a:pt x="0" y="437"/>
                    </a:cubicBezTo>
                    <a:cubicBezTo>
                      <a:pt x="0" y="469"/>
                      <a:pt x="0" y="469"/>
                      <a:pt x="0" y="500"/>
                    </a:cubicBezTo>
                    <a:cubicBezTo>
                      <a:pt x="0" y="781"/>
                      <a:pt x="219" y="1031"/>
                      <a:pt x="500" y="1031"/>
                    </a:cubicBezTo>
                    <a:cubicBezTo>
                      <a:pt x="531" y="1031"/>
                      <a:pt x="594" y="1031"/>
                      <a:pt x="625" y="1000"/>
                    </a:cubicBezTo>
                    <a:cubicBezTo>
                      <a:pt x="2124" y="2530"/>
                      <a:pt x="2124" y="2530"/>
                      <a:pt x="2124" y="2530"/>
                    </a:cubicBezTo>
                    <a:cubicBezTo>
                      <a:pt x="2155" y="2530"/>
                      <a:pt x="2155" y="2561"/>
                      <a:pt x="2155" y="2561"/>
                    </a:cubicBezTo>
                    <a:cubicBezTo>
                      <a:pt x="2218" y="2593"/>
                      <a:pt x="2218" y="2593"/>
                      <a:pt x="2218" y="2593"/>
                    </a:cubicBezTo>
                    <a:cubicBezTo>
                      <a:pt x="2187" y="2624"/>
                      <a:pt x="2187" y="2686"/>
                      <a:pt x="2187" y="2718"/>
                    </a:cubicBezTo>
                    <a:cubicBezTo>
                      <a:pt x="2187" y="2999"/>
                      <a:pt x="2437" y="3218"/>
                      <a:pt x="2718" y="3218"/>
                    </a:cubicBezTo>
                    <a:cubicBezTo>
                      <a:pt x="2749" y="3218"/>
                      <a:pt x="2780" y="3218"/>
                      <a:pt x="2812" y="3218"/>
                    </a:cubicBezTo>
                    <a:cubicBezTo>
                      <a:pt x="2843" y="3186"/>
                      <a:pt x="2843" y="3186"/>
                      <a:pt x="2812" y="3155"/>
                    </a:cubicBezTo>
                    <a:cubicBezTo>
                      <a:pt x="2530" y="2843"/>
                      <a:pt x="2530" y="2843"/>
                      <a:pt x="2530" y="2843"/>
                    </a:cubicBezTo>
                    <a:cubicBezTo>
                      <a:pt x="2499" y="2843"/>
                      <a:pt x="2499" y="2811"/>
                      <a:pt x="2530" y="2780"/>
                    </a:cubicBezTo>
                    <a:cubicBezTo>
                      <a:pt x="2780" y="2530"/>
                      <a:pt x="2780" y="2530"/>
                      <a:pt x="2780" y="2530"/>
                    </a:cubicBezTo>
                    <a:cubicBezTo>
                      <a:pt x="2812" y="2499"/>
                      <a:pt x="2843" y="2499"/>
                      <a:pt x="2843" y="2530"/>
                    </a:cubicBezTo>
                    <a:cubicBezTo>
                      <a:pt x="3155" y="2811"/>
                      <a:pt x="3155" y="2811"/>
                      <a:pt x="3155" y="2811"/>
                    </a:cubicBezTo>
                    <a:cubicBezTo>
                      <a:pt x="3187" y="2843"/>
                      <a:pt x="3218" y="2843"/>
                      <a:pt x="3218" y="2811"/>
                    </a:cubicBezTo>
                    <a:cubicBezTo>
                      <a:pt x="3218" y="2780"/>
                      <a:pt x="3218" y="2749"/>
                      <a:pt x="3218" y="2718"/>
                    </a:cubicBezTo>
                    <a:cubicBezTo>
                      <a:pt x="3218" y="2436"/>
                      <a:pt x="2999" y="2218"/>
                      <a:pt x="2718" y="221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33" name="Gruppieren 32"/>
            <p:cNvGrpSpPr/>
            <p:nvPr/>
          </p:nvGrpSpPr>
          <p:grpSpPr>
            <a:xfrm>
              <a:off x="9289927" y="1896103"/>
              <a:ext cx="1314127" cy="1314127"/>
              <a:chOff x="3384550" y="4779963"/>
              <a:chExt cx="1844675" cy="1844675"/>
            </a:xfrm>
          </p:grpSpPr>
          <p:sp>
            <p:nvSpPr>
              <p:cNvPr id="30" name="Freeform 10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384550" y="4779963"/>
                <a:ext cx="1844675" cy="1844675"/>
              </a:xfrm>
              <a:custGeom>
                <a:avLst/>
                <a:gdLst>
                  <a:gd name="T0" fmla="*/ 5124 w 5125"/>
                  <a:gd name="T1" fmla="*/ 2593 h 5125"/>
                  <a:gd name="T2" fmla="*/ 5124 w 5125"/>
                  <a:gd name="T3" fmla="*/ 2593 h 5125"/>
                  <a:gd name="T4" fmla="*/ 5061 w 5125"/>
                  <a:gd name="T5" fmla="*/ 2000 h 5125"/>
                  <a:gd name="T6" fmla="*/ 4999 w 5125"/>
                  <a:gd name="T7" fmla="*/ 1938 h 5125"/>
                  <a:gd name="T8" fmla="*/ 4468 w 5125"/>
                  <a:gd name="T9" fmla="*/ 1844 h 5125"/>
                  <a:gd name="T10" fmla="*/ 4186 w 5125"/>
                  <a:gd name="T11" fmla="*/ 1344 h 5125"/>
                  <a:gd name="T12" fmla="*/ 4405 w 5125"/>
                  <a:gd name="T13" fmla="*/ 844 h 5125"/>
                  <a:gd name="T14" fmla="*/ 4405 w 5125"/>
                  <a:gd name="T15" fmla="*/ 782 h 5125"/>
                  <a:gd name="T16" fmla="*/ 3936 w 5125"/>
                  <a:gd name="T17" fmla="*/ 375 h 5125"/>
                  <a:gd name="T18" fmla="*/ 3843 w 5125"/>
                  <a:gd name="T19" fmla="*/ 375 h 5125"/>
                  <a:gd name="T20" fmla="*/ 3405 w 5125"/>
                  <a:gd name="T21" fmla="*/ 719 h 5125"/>
                  <a:gd name="T22" fmla="*/ 2843 w 5125"/>
                  <a:gd name="T23" fmla="*/ 532 h 5125"/>
                  <a:gd name="T24" fmla="*/ 2686 w 5125"/>
                  <a:gd name="T25" fmla="*/ 32 h 5125"/>
                  <a:gd name="T26" fmla="*/ 2592 w 5125"/>
                  <a:gd name="T27" fmla="*/ 0 h 5125"/>
                  <a:gd name="T28" fmla="*/ 2000 w 5125"/>
                  <a:gd name="T29" fmla="*/ 63 h 5125"/>
                  <a:gd name="T30" fmla="*/ 1937 w 5125"/>
                  <a:gd name="T31" fmla="*/ 125 h 5125"/>
                  <a:gd name="T32" fmla="*/ 1875 w 5125"/>
                  <a:gd name="T33" fmla="*/ 625 h 5125"/>
                  <a:gd name="T34" fmla="*/ 1344 w 5125"/>
                  <a:gd name="T35" fmla="*/ 907 h 5125"/>
                  <a:gd name="T36" fmla="*/ 875 w 5125"/>
                  <a:gd name="T37" fmla="*/ 688 h 5125"/>
                  <a:gd name="T38" fmla="*/ 781 w 5125"/>
                  <a:gd name="T39" fmla="*/ 719 h 5125"/>
                  <a:gd name="T40" fmla="*/ 406 w 5125"/>
                  <a:gd name="T41" fmla="*/ 1188 h 5125"/>
                  <a:gd name="T42" fmla="*/ 406 w 5125"/>
                  <a:gd name="T43" fmla="*/ 1250 h 5125"/>
                  <a:gd name="T44" fmla="*/ 719 w 5125"/>
                  <a:gd name="T45" fmla="*/ 1688 h 5125"/>
                  <a:gd name="T46" fmla="*/ 531 w 5125"/>
                  <a:gd name="T47" fmla="*/ 2250 h 5125"/>
                  <a:gd name="T48" fmla="*/ 31 w 5125"/>
                  <a:gd name="T49" fmla="*/ 2438 h 5125"/>
                  <a:gd name="T50" fmla="*/ 0 w 5125"/>
                  <a:gd name="T51" fmla="*/ 2500 h 5125"/>
                  <a:gd name="T52" fmla="*/ 62 w 5125"/>
                  <a:gd name="T53" fmla="*/ 3124 h 5125"/>
                  <a:gd name="T54" fmla="*/ 125 w 5125"/>
                  <a:gd name="T55" fmla="*/ 3187 h 5125"/>
                  <a:gd name="T56" fmla="*/ 656 w 5125"/>
                  <a:gd name="T57" fmla="*/ 3249 h 5125"/>
                  <a:gd name="T58" fmla="*/ 937 w 5125"/>
                  <a:gd name="T59" fmla="*/ 3749 h 5125"/>
                  <a:gd name="T60" fmla="*/ 687 w 5125"/>
                  <a:gd name="T61" fmla="*/ 4249 h 5125"/>
                  <a:gd name="T62" fmla="*/ 719 w 5125"/>
                  <a:gd name="T63" fmla="*/ 4312 h 5125"/>
                  <a:gd name="T64" fmla="*/ 1187 w 5125"/>
                  <a:gd name="T65" fmla="*/ 4718 h 5125"/>
                  <a:gd name="T66" fmla="*/ 1281 w 5125"/>
                  <a:gd name="T67" fmla="*/ 4718 h 5125"/>
                  <a:gd name="T68" fmla="*/ 1687 w 5125"/>
                  <a:gd name="T69" fmla="*/ 4374 h 5125"/>
                  <a:gd name="T70" fmla="*/ 2250 w 5125"/>
                  <a:gd name="T71" fmla="*/ 4562 h 5125"/>
                  <a:gd name="T72" fmla="*/ 2437 w 5125"/>
                  <a:gd name="T73" fmla="*/ 5062 h 5125"/>
                  <a:gd name="T74" fmla="*/ 2500 w 5125"/>
                  <a:gd name="T75" fmla="*/ 5124 h 5125"/>
                  <a:gd name="T76" fmla="*/ 3124 w 5125"/>
                  <a:gd name="T77" fmla="*/ 5062 h 5125"/>
                  <a:gd name="T78" fmla="*/ 3186 w 5125"/>
                  <a:gd name="T79" fmla="*/ 4999 h 5125"/>
                  <a:gd name="T80" fmla="*/ 3249 w 5125"/>
                  <a:gd name="T81" fmla="*/ 4468 h 5125"/>
                  <a:gd name="T82" fmla="*/ 3749 w 5125"/>
                  <a:gd name="T83" fmla="*/ 4187 h 5125"/>
                  <a:gd name="T84" fmla="*/ 4249 w 5125"/>
                  <a:gd name="T85" fmla="*/ 4406 h 5125"/>
                  <a:gd name="T86" fmla="*/ 4311 w 5125"/>
                  <a:gd name="T87" fmla="*/ 4406 h 5125"/>
                  <a:gd name="T88" fmla="*/ 4718 w 5125"/>
                  <a:gd name="T89" fmla="*/ 3906 h 5125"/>
                  <a:gd name="T90" fmla="*/ 4718 w 5125"/>
                  <a:gd name="T91" fmla="*/ 3843 h 5125"/>
                  <a:gd name="T92" fmla="*/ 4405 w 5125"/>
                  <a:gd name="T93" fmla="*/ 3406 h 5125"/>
                  <a:gd name="T94" fmla="*/ 4561 w 5125"/>
                  <a:gd name="T95" fmla="*/ 2843 h 5125"/>
                  <a:gd name="T96" fmla="*/ 5061 w 5125"/>
                  <a:gd name="T97" fmla="*/ 2656 h 5125"/>
                  <a:gd name="T98" fmla="*/ 5124 w 5125"/>
                  <a:gd name="T99" fmla="*/ 2593 h 5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125" h="5125">
                    <a:moveTo>
                      <a:pt x="5124" y="2593"/>
                    </a:moveTo>
                    <a:lnTo>
                      <a:pt x="5124" y="2593"/>
                    </a:lnTo>
                    <a:cubicBezTo>
                      <a:pt x="5061" y="2000"/>
                      <a:pt x="5061" y="2000"/>
                      <a:pt x="5061" y="2000"/>
                    </a:cubicBezTo>
                    <a:cubicBezTo>
                      <a:pt x="5061" y="1969"/>
                      <a:pt x="5030" y="1938"/>
                      <a:pt x="4999" y="1938"/>
                    </a:cubicBezTo>
                    <a:cubicBezTo>
                      <a:pt x="4468" y="1844"/>
                      <a:pt x="4468" y="1844"/>
                      <a:pt x="4468" y="1844"/>
                    </a:cubicBezTo>
                    <a:cubicBezTo>
                      <a:pt x="4405" y="1657"/>
                      <a:pt x="4311" y="1500"/>
                      <a:pt x="4186" y="1344"/>
                    </a:cubicBezTo>
                    <a:cubicBezTo>
                      <a:pt x="4405" y="844"/>
                      <a:pt x="4405" y="844"/>
                      <a:pt x="4405" y="844"/>
                    </a:cubicBezTo>
                    <a:cubicBezTo>
                      <a:pt x="4436" y="844"/>
                      <a:pt x="4436" y="782"/>
                      <a:pt x="4405" y="782"/>
                    </a:cubicBezTo>
                    <a:cubicBezTo>
                      <a:pt x="3936" y="375"/>
                      <a:pt x="3936" y="375"/>
                      <a:pt x="3936" y="375"/>
                    </a:cubicBezTo>
                    <a:cubicBezTo>
                      <a:pt x="3905" y="375"/>
                      <a:pt x="3874" y="375"/>
                      <a:pt x="3843" y="375"/>
                    </a:cubicBezTo>
                    <a:cubicBezTo>
                      <a:pt x="3405" y="719"/>
                      <a:pt x="3405" y="719"/>
                      <a:pt x="3405" y="719"/>
                    </a:cubicBezTo>
                    <a:cubicBezTo>
                      <a:pt x="3249" y="625"/>
                      <a:pt x="3061" y="563"/>
                      <a:pt x="2843" y="532"/>
                    </a:cubicBezTo>
                    <a:cubicBezTo>
                      <a:pt x="2686" y="32"/>
                      <a:pt x="2686" y="32"/>
                      <a:pt x="2686" y="32"/>
                    </a:cubicBezTo>
                    <a:cubicBezTo>
                      <a:pt x="2655" y="0"/>
                      <a:pt x="2624" y="0"/>
                      <a:pt x="2592" y="0"/>
                    </a:cubicBezTo>
                    <a:cubicBezTo>
                      <a:pt x="2000" y="63"/>
                      <a:pt x="2000" y="63"/>
                      <a:pt x="2000" y="63"/>
                    </a:cubicBezTo>
                    <a:cubicBezTo>
                      <a:pt x="1968" y="63"/>
                      <a:pt x="1937" y="94"/>
                      <a:pt x="1937" y="125"/>
                    </a:cubicBezTo>
                    <a:cubicBezTo>
                      <a:pt x="1875" y="625"/>
                      <a:pt x="1875" y="625"/>
                      <a:pt x="1875" y="625"/>
                    </a:cubicBezTo>
                    <a:cubicBezTo>
                      <a:pt x="1687" y="719"/>
                      <a:pt x="1500" y="813"/>
                      <a:pt x="1344" y="907"/>
                    </a:cubicBezTo>
                    <a:cubicBezTo>
                      <a:pt x="875" y="688"/>
                      <a:pt x="875" y="688"/>
                      <a:pt x="875" y="688"/>
                    </a:cubicBezTo>
                    <a:cubicBezTo>
                      <a:pt x="844" y="688"/>
                      <a:pt x="812" y="688"/>
                      <a:pt x="781" y="719"/>
                    </a:cubicBezTo>
                    <a:cubicBezTo>
                      <a:pt x="406" y="1188"/>
                      <a:pt x="406" y="1188"/>
                      <a:pt x="406" y="1188"/>
                    </a:cubicBezTo>
                    <a:cubicBezTo>
                      <a:pt x="375" y="1188"/>
                      <a:pt x="375" y="1250"/>
                      <a:pt x="406" y="1250"/>
                    </a:cubicBezTo>
                    <a:cubicBezTo>
                      <a:pt x="719" y="1688"/>
                      <a:pt x="719" y="1688"/>
                      <a:pt x="719" y="1688"/>
                    </a:cubicBezTo>
                    <a:cubicBezTo>
                      <a:pt x="625" y="1875"/>
                      <a:pt x="562" y="2063"/>
                      <a:pt x="531" y="2250"/>
                    </a:cubicBezTo>
                    <a:cubicBezTo>
                      <a:pt x="31" y="2438"/>
                      <a:pt x="31" y="2438"/>
                      <a:pt x="31" y="2438"/>
                    </a:cubicBezTo>
                    <a:cubicBezTo>
                      <a:pt x="0" y="2438"/>
                      <a:pt x="0" y="2469"/>
                      <a:pt x="0" y="2500"/>
                    </a:cubicBezTo>
                    <a:cubicBezTo>
                      <a:pt x="62" y="3124"/>
                      <a:pt x="62" y="3124"/>
                      <a:pt x="62" y="3124"/>
                    </a:cubicBezTo>
                    <a:cubicBezTo>
                      <a:pt x="62" y="3156"/>
                      <a:pt x="94" y="3156"/>
                      <a:pt x="125" y="3187"/>
                    </a:cubicBezTo>
                    <a:cubicBezTo>
                      <a:pt x="656" y="3249"/>
                      <a:pt x="656" y="3249"/>
                      <a:pt x="656" y="3249"/>
                    </a:cubicBezTo>
                    <a:cubicBezTo>
                      <a:pt x="719" y="3437"/>
                      <a:pt x="812" y="3593"/>
                      <a:pt x="937" y="3749"/>
                    </a:cubicBezTo>
                    <a:cubicBezTo>
                      <a:pt x="687" y="4249"/>
                      <a:pt x="687" y="4249"/>
                      <a:pt x="687" y="4249"/>
                    </a:cubicBezTo>
                    <a:cubicBezTo>
                      <a:pt x="687" y="4281"/>
                      <a:pt x="687" y="4312"/>
                      <a:pt x="719" y="4312"/>
                    </a:cubicBezTo>
                    <a:cubicBezTo>
                      <a:pt x="1187" y="4718"/>
                      <a:pt x="1187" y="4718"/>
                      <a:pt x="1187" y="4718"/>
                    </a:cubicBezTo>
                    <a:cubicBezTo>
                      <a:pt x="1219" y="4718"/>
                      <a:pt x="1250" y="4718"/>
                      <a:pt x="1281" y="4718"/>
                    </a:cubicBezTo>
                    <a:cubicBezTo>
                      <a:pt x="1687" y="4374"/>
                      <a:pt x="1687" y="4374"/>
                      <a:pt x="1687" y="4374"/>
                    </a:cubicBezTo>
                    <a:cubicBezTo>
                      <a:pt x="1875" y="4468"/>
                      <a:pt x="2062" y="4531"/>
                      <a:pt x="2250" y="4562"/>
                    </a:cubicBezTo>
                    <a:cubicBezTo>
                      <a:pt x="2437" y="5062"/>
                      <a:pt x="2437" y="5062"/>
                      <a:pt x="2437" y="5062"/>
                    </a:cubicBezTo>
                    <a:cubicBezTo>
                      <a:pt x="2437" y="5093"/>
                      <a:pt x="2469" y="5124"/>
                      <a:pt x="2500" y="5124"/>
                    </a:cubicBezTo>
                    <a:cubicBezTo>
                      <a:pt x="3124" y="5062"/>
                      <a:pt x="3124" y="5062"/>
                      <a:pt x="3124" y="5062"/>
                    </a:cubicBezTo>
                    <a:cubicBezTo>
                      <a:pt x="3155" y="5031"/>
                      <a:pt x="3186" y="5031"/>
                      <a:pt x="3186" y="4999"/>
                    </a:cubicBezTo>
                    <a:cubicBezTo>
                      <a:pt x="3249" y="4468"/>
                      <a:pt x="3249" y="4468"/>
                      <a:pt x="3249" y="4468"/>
                    </a:cubicBezTo>
                    <a:cubicBezTo>
                      <a:pt x="3436" y="4406"/>
                      <a:pt x="3624" y="4312"/>
                      <a:pt x="3749" y="4187"/>
                    </a:cubicBezTo>
                    <a:cubicBezTo>
                      <a:pt x="4249" y="4406"/>
                      <a:pt x="4249" y="4406"/>
                      <a:pt x="4249" y="4406"/>
                    </a:cubicBezTo>
                    <a:cubicBezTo>
                      <a:pt x="4280" y="4437"/>
                      <a:pt x="4311" y="4406"/>
                      <a:pt x="4311" y="4406"/>
                    </a:cubicBezTo>
                    <a:cubicBezTo>
                      <a:pt x="4718" y="3906"/>
                      <a:pt x="4718" y="3906"/>
                      <a:pt x="4718" y="3906"/>
                    </a:cubicBezTo>
                    <a:cubicBezTo>
                      <a:pt x="4749" y="3906"/>
                      <a:pt x="4749" y="3874"/>
                      <a:pt x="4718" y="3843"/>
                    </a:cubicBezTo>
                    <a:cubicBezTo>
                      <a:pt x="4405" y="3406"/>
                      <a:pt x="4405" y="3406"/>
                      <a:pt x="4405" y="3406"/>
                    </a:cubicBezTo>
                    <a:cubicBezTo>
                      <a:pt x="4468" y="3218"/>
                      <a:pt x="4530" y="3031"/>
                      <a:pt x="4561" y="2843"/>
                    </a:cubicBezTo>
                    <a:cubicBezTo>
                      <a:pt x="5061" y="2656"/>
                      <a:pt x="5061" y="2656"/>
                      <a:pt x="5061" y="2656"/>
                    </a:cubicBezTo>
                    <a:cubicBezTo>
                      <a:pt x="5093" y="2656"/>
                      <a:pt x="5124" y="2624"/>
                      <a:pt x="5124" y="2593"/>
                    </a:cubicBezTo>
                  </a:path>
                </a:pathLst>
              </a:custGeom>
              <a:solidFill>
                <a:srgbClr val="86AF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1" name="Freeform 10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4149725" y="5375275"/>
                <a:ext cx="517525" cy="517525"/>
              </a:xfrm>
              <a:custGeom>
                <a:avLst/>
                <a:gdLst>
                  <a:gd name="T0" fmla="*/ 1436 w 1437"/>
                  <a:gd name="T1" fmla="*/ 406 h 1437"/>
                  <a:gd name="T2" fmla="*/ 1030 w 1437"/>
                  <a:gd name="T3" fmla="*/ 406 h 1437"/>
                  <a:gd name="T4" fmla="*/ 1030 w 1437"/>
                  <a:gd name="T5" fmla="*/ 0 h 1437"/>
                  <a:gd name="T6" fmla="*/ 1436 w 1437"/>
                  <a:gd name="T7" fmla="*/ 0 h 1437"/>
                  <a:gd name="T8" fmla="*/ 1436 w 1437"/>
                  <a:gd name="T9" fmla="*/ 406 h 1437"/>
                  <a:gd name="T10" fmla="*/ 936 w 1437"/>
                  <a:gd name="T11" fmla="*/ 406 h 1437"/>
                  <a:gd name="T12" fmla="*/ 530 w 1437"/>
                  <a:gd name="T13" fmla="*/ 406 h 1437"/>
                  <a:gd name="T14" fmla="*/ 530 w 1437"/>
                  <a:gd name="T15" fmla="*/ 0 h 1437"/>
                  <a:gd name="T16" fmla="*/ 936 w 1437"/>
                  <a:gd name="T17" fmla="*/ 0 h 1437"/>
                  <a:gd name="T18" fmla="*/ 936 w 1437"/>
                  <a:gd name="T19" fmla="*/ 406 h 1437"/>
                  <a:gd name="T20" fmla="*/ 406 w 1437"/>
                  <a:gd name="T21" fmla="*/ 406 h 1437"/>
                  <a:gd name="T22" fmla="*/ 0 w 1437"/>
                  <a:gd name="T23" fmla="*/ 406 h 1437"/>
                  <a:gd name="T24" fmla="*/ 0 w 1437"/>
                  <a:gd name="T25" fmla="*/ 0 h 1437"/>
                  <a:gd name="T26" fmla="*/ 406 w 1437"/>
                  <a:gd name="T27" fmla="*/ 0 h 1437"/>
                  <a:gd name="T28" fmla="*/ 406 w 1437"/>
                  <a:gd name="T29" fmla="*/ 406 h 1437"/>
                  <a:gd name="T30" fmla="*/ 1436 w 1437"/>
                  <a:gd name="T31" fmla="*/ 906 h 1437"/>
                  <a:gd name="T32" fmla="*/ 1030 w 1437"/>
                  <a:gd name="T33" fmla="*/ 906 h 1437"/>
                  <a:gd name="T34" fmla="*/ 1030 w 1437"/>
                  <a:gd name="T35" fmla="*/ 531 h 1437"/>
                  <a:gd name="T36" fmla="*/ 1436 w 1437"/>
                  <a:gd name="T37" fmla="*/ 531 h 1437"/>
                  <a:gd name="T38" fmla="*/ 1436 w 1437"/>
                  <a:gd name="T39" fmla="*/ 906 h 1437"/>
                  <a:gd name="T40" fmla="*/ 936 w 1437"/>
                  <a:gd name="T41" fmla="*/ 906 h 1437"/>
                  <a:gd name="T42" fmla="*/ 530 w 1437"/>
                  <a:gd name="T43" fmla="*/ 906 h 1437"/>
                  <a:gd name="T44" fmla="*/ 530 w 1437"/>
                  <a:gd name="T45" fmla="*/ 531 h 1437"/>
                  <a:gd name="T46" fmla="*/ 936 w 1437"/>
                  <a:gd name="T47" fmla="*/ 531 h 1437"/>
                  <a:gd name="T48" fmla="*/ 936 w 1437"/>
                  <a:gd name="T49" fmla="*/ 906 h 1437"/>
                  <a:gd name="T50" fmla="*/ 406 w 1437"/>
                  <a:gd name="T51" fmla="*/ 906 h 1437"/>
                  <a:gd name="T52" fmla="*/ 0 w 1437"/>
                  <a:gd name="T53" fmla="*/ 906 h 1437"/>
                  <a:gd name="T54" fmla="*/ 0 w 1437"/>
                  <a:gd name="T55" fmla="*/ 531 h 1437"/>
                  <a:gd name="T56" fmla="*/ 406 w 1437"/>
                  <a:gd name="T57" fmla="*/ 531 h 1437"/>
                  <a:gd name="T58" fmla="*/ 406 w 1437"/>
                  <a:gd name="T59" fmla="*/ 906 h 1437"/>
                  <a:gd name="T60" fmla="*/ 1436 w 1437"/>
                  <a:gd name="T61" fmla="*/ 1436 h 1437"/>
                  <a:gd name="T62" fmla="*/ 1030 w 1437"/>
                  <a:gd name="T63" fmla="*/ 1436 h 1437"/>
                  <a:gd name="T64" fmla="*/ 1030 w 1437"/>
                  <a:gd name="T65" fmla="*/ 1030 h 1437"/>
                  <a:gd name="T66" fmla="*/ 1436 w 1437"/>
                  <a:gd name="T67" fmla="*/ 1030 h 1437"/>
                  <a:gd name="T68" fmla="*/ 1436 w 1437"/>
                  <a:gd name="T69" fmla="*/ 1436 h 1437"/>
                  <a:gd name="T70" fmla="*/ 936 w 1437"/>
                  <a:gd name="T71" fmla="*/ 1436 h 1437"/>
                  <a:gd name="T72" fmla="*/ 530 w 1437"/>
                  <a:gd name="T73" fmla="*/ 1436 h 1437"/>
                  <a:gd name="T74" fmla="*/ 530 w 1437"/>
                  <a:gd name="T75" fmla="*/ 1030 h 1437"/>
                  <a:gd name="T76" fmla="*/ 936 w 1437"/>
                  <a:gd name="T77" fmla="*/ 1030 h 1437"/>
                  <a:gd name="T78" fmla="*/ 936 w 1437"/>
                  <a:gd name="T79" fmla="*/ 1436 h 1437"/>
                  <a:gd name="T80" fmla="*/ 406 w 1437"/>
                  <a:gd name="T81" fmla="*/ 1436 h 1437"/>
                  <a:gd name="T82" fmla="*/ 0 w 1437"/>
                  <a:gd name="T83" fmla="*/ 1436 h 1437"/>
                  <a:gd name="T84" fmla="*/ 0 w 1437"/>
                  <a:gd name="T85" fmla="*/ 1030 h 1437"/>
                  <a:gd name="T86" fmla="*/ 406 w 1437"/>
                  <a:gd name="T87" fmla="*/ 1030 h 1437"/>
                  <a:gd name="T88" fmla="*/ 406 w 1437"/>
                  <a:gd name="T89" fmla="*/ 1436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37" h="1437">
                    <a:moveTo>
                      <a:pt x="1436" y="406"/>
                    </a:moveTo>
                    <a:lnTo>
                      <a:pt x="1030" y="406"/>
                    </a:lnTo>
                    <a:lnTo>
                      <a:pt x="1030" y="0"/>
                    </a:lnTo>
                    <a:lnTo>
                      <a:pt x="1436" y="0"/>
                    </a:lnTo>
                    <a:lnTo>
                      <a:pt x="1436" y="406"/>
                    </a:lnTo>
                    <a:close/>
                    <a:moveTo>
                      <a:pt x="936" y="406"/>
                    </a:moveTo>
                    <a:lnTo>
                      <a:pt x="530" y="406"/>
                    </a:lnTo>
                    <a:lnTo>
                      <a:pt x="530" y="0"/>
                    </a:lnTo>
                    <a:lnTo>
                      <a:pt x="936" y="0"/>
                    </a:lnTo>
                    <a:lnTo>
                      <a:pt x="936" y="406"/>
                    </a:lnTo>
                    <a:close/>
                    <a:moveTo>
                      <a:pt x="406" y="406"/>
                    </a:moveTo>
                    <a:lnTo>
                      <a:pt x="0" y="406"/>
                    </a:lnTo>
                    <a:lnTo>
                      <a:pt x="0" y="0"/>
                    </a:lnTo>
                    <a:lnTo>
                      <a:pt x="406" y="0"/>
                    </a:lnTo>
                    <a:lnTo>
                      <a:pt x="406" y="406"/>
                    </a:lnTo>
                    <a:close/>
                    <a:moveTo>
                      <a:pt x="1436" y="906"/>
                    </a:moveTo>
                    <a:lnTo>
                      <a:pt x="1030" y="906"/>
                    </a:lnTo>
                    <a:lnTo>
                      <a:pt x="1030" y="531"/>
                    </a:lnTo>
                    <a:lnTo>
                      <a:pt x="1436" y="531"/>
                    </a:lnTo>
                    <a:lnTo>
                      <a:pt x="1436" y="906"/>
                    </a:lnTo>
                    <a:close/>
                    <a:moveTo>
                      <a:pt x="936" y="906"/>
                    </a:moveTo>
                    <a:lnTo>
                      <a:pt x="530" y="906"/>
                    </a:lnTo>
                    <a:lnTo>
                      <a:pt x="530" y="531"/>
                    </a:lnTo>
                    <a:lnTo>
                      <a:pt x="936" y="531"/>
                    </a:lnTo>
                    <a:lnTo>
                      <a:pt x="936" y="906"/>
                    </a:lnTo>
                    <a:close/>
                    <a:moveTo>
                      <a:pt x="406" y="906"/>
                    </a:moveTo>
                    <a:lnTo>
                      <a:pt x="0" y="906"/>
                    </a:lnTo>
                    <a:lnTo>
                      <a:pt x="0" y="531"/>
                    </a:lnTo>
                    <a:lnTo>
                      <a:pt x="406" y="531"/>
                    </a:lnTo>
                    <a:lnTo>
                      <a:pt x="406" y="906"/>
                    </a:lnTo>
                    <a:close/>
                    <a:moveTo>
                      <a:pt x="1436" y="1436"/>
                    </a:moveTo>
                    <a:lnTo>
                      <a:pt x="1030" y="1436"/>
                    </a:lnTo>
                    <a:lnTo>
                      <a:pt x="1030" y="1030"/>
                    </a:lnTo>
                    <a:lnTo>
                      <a:pt x="1436" y="1030"/>
                    </a:lnTo>
                    <a:lnTo>
                      <a:pt x="1436" y="1436"/>
                    </a:lnTo>
                    <a:close/>
                    <a:moveTo>
                      <a:pt x="936" y="1436"/>
                    </a:moveTo>
                    <a:lnTo>
                      <a:pt x="530" y="1436"/>
                    </a:lnTo>
                    <a:lnTo>
                      <a:pt x="530" y="1030"/>
                    </a:lnTo>
                    <a:lnTo>
                      <a:pt x="936" y="1030"/>
                    </a:lnTo>
                    <a:lnTo>
                      <a:pt x="936" y="1436"/>
                    </a:lnTo>
                    <a:close/>
                    <a:moveTo>
                      <a:pt x="406" y="1436"/>
                    </a:moveTo>
                    <a:lnTo>
                      <a:pt x="0" y="1436"/>
                    </a:lnTo>
                    <a:lnTo>
                      <a:pt x="0" y="1030"/>
                    </a:lnTo>
                    <a:lnTo>
                      <a:pt x="406" y="1030"/>
                    </a:lnTo>
                    <a:lnTo>
                      <a:pt x="406" y="1436"/>
                    </a:lnTo>
                    <a:close/>
                  </a:path>
                </a:pathLst>
              </a:custGeom>
              <a:solidFill>
                <a:srgbClr val="B8DDD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2" name="Freeform 10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867150" y="5545138"/>
                <a:ext cx="630238" cy="630237"/>
              </a:xfrm>
              <a:custGeom>
                <a:avLst/>
                <a:gdLst>
                  <a:gd name="T0" fmla="*/ 281 w 1750"/>
                  <a:gd name="T1" fmla="*/ 1687 h 1750"/>
                  <a:gd name="T2" fmla="*/ 281 w 1750"/>
                  <a:gd name="T3" fmla="*/ 1687 h 1750"/>
                  <a:gd name="T4" fmla="*/ 62 w 1750"/>
                  <a:gd name="T5" fmla="*/ 1687 h 1750"/>
                  <a:gd name="T6" fmla="*/ 62 w 1750"/>
                  <a:gd name="T7" fmla="*/ 1468 h 1750"/>
                  <a:gd name="T8" fmla="*/ 531 w 1750"/>
                  <a:gd name="T9" fmla="*/ 999 h 1750"/>
                  <a:gd name="T10" fmla="*/ 437 w 1750"/>
                  <a:gd name="T11" fmla="*/ 656 h 1750"/>
                  <a:gd name="T12" fmla="*/ 1093 w 1750"/>
                  <a:gd name="T13" fmla="*/ 0 h 1750"/>
                  <a:gd name="T14" fmla="*/ 1749 w 1750"/>
                  <a:gd name="T15" fmla="*/ 656 h 1750"/>
                  <a:gd name="T16" fmla="*/ 1093 w 1750"/>
                  <a:gd name="T17" fmla="*/ 1312 h 1750"/>
                  <a:gd name="T18" fmla="*/ 750 w 1750"/>
                  <a:gd name="T19" fmla="*/ 1218 h 1750"/>
                  <a:gd name="T20" fmla="*/ 281 w 1750"/>
                  <a:gd name="T21" fmla="*/ 1687 h 1750"/>
                  <a:gd name="T22" fmla="*/ 1093 w 1750"/>
                  <a:gd name="T23" fmla="*/ 219 h 1750"/>
                  <a:gd name="T24" fmla="*/ 1093 w 1750"/>
                  <a:gd name="T25" fmla="*/ 219 h 1750"/>
                  <a:gd name="T26" fmla="*/ 656 w 1750"/>
                  <a:gd name="T27" fmla="*/ 656 h 1750"/>
                  <a:gd name="T28" fmla="*/ 1093 w 1750"/>
                  <a:gd name="T29" fmla="*/ 1093 h 1750"/>
                  <a:gd name="T30" fmla="*/ 1530 w 1750"/>
                  <a:gd name="T31" fmla="*/ 656 h 1750"/>
                  <a:gd name="T32" fmla="*/ 1093 w 1750"/>
                  <a:gd name="T33" fmla="*/ 219 h 1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50" h="1750">
                    <a:moveTo>
                      <a:pt x="281" y="1687"/>
                    </a:moveTo>
                    <a:lnTo>
                      <a:pt x="281" y="1687"/>
                    </a:lnTo>
                    <a:cubicBezTo>
                      <a:pt x="218" y="1749"/>
                      <a:pt x="125" y="1749"/>
                      <a:pt x="62" y="1687"/>
                    </a:cubicBezTo>
                    <a:cubicBezTo>
                      <a:pt x="0" y="1624"/>
                      <a:pt x="0" y="1531"/>
                      <a:pt x="62" y="1468"/>
                    </a:cubicBezTo>
                    <a:cubicBezTo>
                      <a:pt x="531" y="999"/>
                      <a:pt x="531" y="999"/>
                      <a:pt x="531" y="999"/>
                    </a:cubicBezTo>
                    <a:cubicBezTo>
                      <a:pt x="468" y="906"/>
                      <a:pt x="437" y="781"/>
                      <a:pt x="437" y="656"/>
                    </a:cubicBezTo>
                    <a:cubicBezTo>
                      <a:pt x="437" y="282"/>
                      <a:pt x="718" y="0"/>
                      <a:pt x="1093" y="0"/>
                    </a:cubicBezTo>
                    <a:cubicBezTo>
                      <a:pt x="1467" y="0"/>
                      <a:pt x="1749" y="282"/>
                      <a:pt x="1749" y="656"/>
                    </a:cubicBezTo>
                    <a:cubicBezTo>
                      <a:pt x="1749" y="1031"/>
                      <a:pt x="1467" y="1312"/>
                      <a:pt x="1093" y="1312"/>
                    </a:cubicBezTo>
                    <a:cubicBezTo>
                      <a:pt x="968" y="1312"/>
                      <a:pt x="843" y="1281"/>
                      <a:pt x="750" y="1218"/>
                    </a:cubicBezTo>
                    <a:lnTo>
                      <a:pt x="281" y="1687"/>
                    </a:lnTo>
                    <a:close/>
                    <a:moveTo>
                      <a:pt x="1093" y="219"/>
                    </a:moveTo>
                    <a:lnTo>
                      <a:pt x="1093" y="219"/>
                    </a:lnTo>
                    <a:cubicBezTo>
                      <a:pt x="843" y="219"/>
                      <a:pt x="656" y="407"/>
                      <a:pt x="656" y="656"/>
                    </a:cubicBezTo>
                    <a:cubicBezTo>
                      <a:pt x="656" y="906"/>
                      <a:pt x="843" y="1093"/>
                      <a:pt x="1093" y="1093"/>
                    </a:cubicBezTo>
                    <a:cubicBezTo>
                      <a:pt x="1342" y="1093"/>
                      <a:pt x="1530" y="906"/>
                      <a:pt x="1530" y="656"/>
                    </a:cubicBezTo>
                    <a:cubicBezTo>
                      <a:pt x="1530" y="407"/>
                      <a:pt x="1342" y="219"/>
                      <a:pt x="1093" y="2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36" name="Gruppieren 35"/>
            <p:cNvGrpSpPr/>
            <p:nvPr/>
          </p:nvGrpSpPr>
          <p:grpSpPr>
            <a:xfrm>
              <a:off x="7404429" y="1534486"/>
              <a:ext cx="906378" cy="906378"/>
              <a:chOff x="974725" y="2160588"/>
              <a:chExt cx="1833563" cy="1833562"/>
            </a:xfrm>
          </p:grpSpPr>
          <p:sp>
            <p:nvSpPr>
              <p:cNvPr id="34" name="Freeform 8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974725" y="2160588"/>
                <a:ext cx="1833563" cy="1833562"/>
              </a:xfrm>
              <a:custGeom>
                <a:avLst/>
                <a:gdLst>
                  <a:gd name="T0" fmla="*/ 5030 w 5094"/>
                  <a:gd name="T1" fmla="*/ 2188 h 5094"/>
                  <a:gd name="T2" fmla="*/ 5030 w 5094"/>
                  <a:gd name="T3" fmla="*/ 2188 h 5094"/>
                  <a:gd name="T4" fmla="*/ 4499 w 5094"/>
                  <a:gd name="T5" fmla="*/ 2032 h 5094"/>
                  <a:gd name="T6" fmla="*/ 4280 w 5094"/>
                  <a:gd name="T7" fmla="*/ 1500 h 5094"/>
                  <a:gd name="T8" fmla="*/ 4561 w 5094"/>
                  <a:gd name="T9" fmla="*/ 1063 h 5094"/>
                  <a:gd name="T10" fmla="*/ 4561 w 5094"/>
                  <a:gd name="T11" fmla="*/ 969 h 5094"/>
                  <a:gd name="T12" fmla="*/ 4124 w 5094"/>
                  <a:gd name="T13" fmla="*/ 532 h 5094"/>
                  <a:gd name="T14" fmla="*/ 4030 w 5094"/>
                  <a:gd name="T15" fmla="*/ 532 h 5094"/>
                  <a:gd name="T16" fmla="*/ 3593 w 5094"/>
                  <a:gd name="T17" fmla="*/ 813 h 5094"/>
                  <a:gd name="T18" fmla="*/ 3030 w 5094"/>
                  <a:gd name="T19" fmla="*/ 563 h 5094"/>
                  <a:gd name="T20" fmla="*/ 2905 w 5094"/>
                  <a:gd name="T21" fmla="*/ 63 h 5094"/>
                  <a:gd name="T22" fmla="*/ 2843 w 5094"/>
                  <a:gd name="T23" fmla="*/ 0 h 5094"/>
                  <a:gd name="T24" fmla="*/ 2250 w 5094"/>
                  <a:gd name="T25" fmla="*/ 0 h 5094"/>
                  <a:gd name="T26" fmla="*/ 2156 w 5094"/>
                  <a:gd name="T27" fmla="*/ 63 h 5094"/>
                  <a:gd name="T28" fmla="*/ 2031 w 5094"/>
                  <a:gd name="T29" fmla="*/ 563 h 5094"/>
                  <a:gd name="T30" fmla="*/ 1500 w 5094"/>
                  <a:gd name="T31" fmla="*/ 813 h 5094"/>
                  <a:gd name="T32" fmla="*/ 1031 w 5094"/>
                  <a:gd name="T33" fmla="*/ 532 h 5094"/>
                  <a:gd name="T34" fmla="*/ 969 w 5094"/>
                  <a:gd name="T35" fmla="*/ 532 h 5094"/>
                  <a:gd name="T36" fmla="*/ 531 w 5094"/>
                  <a:gd name="T37" fmla="*/ 969 h 5094"/>
                  <a:gd name="T38" fmla="*/ 531 w 5094"/>
                  <a:gd name="T39" fmla="*/ 1063 h 5094"/>
                  <a:gd name="T40" fmla="*/ 812 w 5094"/>
                  <a:gd name="T41" fmla="*/ 1500 h 5094"/>
                  <a:gd name="T42" fmla="*/ 562 w 5094"/>
                  <a:gd name="T43" fmla="*/ 2063 h 5094"/>
                  <a:gd name="T44" fmla="*/ 62 w 5094"/>
                  <a:gd name="T45" fmla="*/ 2188 h 5094"/>
                  <a:gd name="T46" fmla="*/ 0 w 5094"/>
                  <a:gd name="T47" fmla="*/ 2250 h 5094"/>
                  <a:gd name="T48" fmla="*/ 0 w 5094"/>
                  <a:gd name="T49" fmla="*/ 2874 h 5094"/>
                  <a:gd name="T50" fmla="*/ 62 w 5094"/>
                  <a:gd name="T51" fmla="*/ 2937 h 5094"/>
                  <a:gd name="T52" fmla="*/ 562 w 5094"/>
                  <a:gd name="T53" fmla="*/ 3062 h 5094"/>
                  <a:gd name="T54" fmla="*/ 812 w 5094"/>
                  <a:gd name="T55" fmla="*/ 3593 h 5094"/>
                  <a:gd name="T56" fmla="*/ 531 w 5094"/>
                  <a:gd name="T57" fmla="*/ 4062 h 5094"/>
                  <a:gd name="T58" fmla="*/ 531 w 5094"/>
                  <a:gd name="T59" fmla="*/ 4124 h 5094"/>
                  <a:gd name="T60" fmla="*/ 969 w 5094"/>
                  <a:gd name="T61" fmla="*/ 4562 h 5094"/>
                  <a:gd name="T62" fmla="*/ 1031 w 5094"/>
                  <a:gd name="T63" fmla="*/ 4593 h 5094"/>
                  <a:gd name="T64" fmla="*/ 1500 w 5094"/>
                  <a:gd name="T65" fmla="*/ 4312 h 5094"/>
                  <a:gd name="T66" fmla="*/ 2031 w 5094"/>
                  <a:gd name="T67" fmla="*/ 4531 h 5094"/>
                  <a:gd name="T68" fmla="*/ 2156 w 5094"/>
                  <a:gd name="T69" fmla="*/ 5062 h 5094"/>
                  <a:gd name="T70" fmla="*/ 2250 w 5094"/>
                  <a:gd name="T71" fmla="*/ 5093 h 5094"/>
                  <a:gd name="T72" fmla="*/ 2843 w 5094"/>
                  <a:gd name="T73" fmla="*/ 5093 h 5094"/>
                  <a:gd name="T74" fmla="*/ 2905 w 5094"/>
                  <a:gd name="T75" fmla="*/ 5062 h 5094"/>
                  <a:gd name="T76" fmla="*/ 3061 w 5094"/>
                  <a:gd name="T77" fmla="*/ 4531 h 5094"/>
                  <a:gd name="T78" fmla="*/ 3593 w 5094"/>
                  <a:gd name="T79" fmla="*/ 4312 h 5094"/>
                  <a:gd name="T80" fmla="*/ 4061 w 5094"/>
                  <a:gd name="T81" fmla="*/ 4593 h 5094"/>
                  <a:gd name="T82" fmla="*/ 4124 w 5094"/>
                  <a:gd name="T83" fmla="*/ 4562 h 5094"/>
                  <a:gd name="T84" fmla="*/ 4561 w 5094"/>
                  <a:gd name="T85" fmla="*/ 4124 h 5094"/>
                  <a:gd name="T86" fmla="*/ 4561 w 5094"/>
                  <a:gd name="T87" fmla="*/ 4062 h 5094"/>
                  <a:gd name="T88" fmla="*/ 4311 w 5094"/>
                  <a:gd name="T89" fmla="*/ 3593 h 5094"/>
                  <a:gd name="T90" fmla="*/ 4530 w 5094"/>
                  <a:gd name="T91" fmla="*/ 3062 h 5094"/>
                  <a:gd name="T92" fmla="*/ 5030 w 5094"/>
                  <a:gd name="T93" fmla="*/ 2937 h 5094"/>
                  <a:gd name="T94" fmla="*/ 5093 w 5094"/>
                  <a:gd name="T95" fmla="*/ 2874 h 5094"/>
                  <a:gd name="T96" fmla="*/ 5093 w 5094"/>
                  <a:gd name="T97" fmla="*/ 2250 h 5094"/>
                  <a:gd name="T98" fmla="*/ 5030 w 5094"/>
                  <a:gd name="T99" fmla="*/ 2188 h 50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094" h="5094">
                    <a:moveTo>
                      <a:pt x="5030" y="2188"/>
                    </a:moveTo>
                    <a:lnTo>
                      <a:pt x="5030" y="2188"/>
                    </a:lnTo>
                    <a:cubicBezTo>
                      <a:pt x="4499" y="2032"/>
                      <a:pt x="4499" y="2032"/>
                      <a:pt x="4499" y="2032"/>
                    </a:cubicBezTo>
                    <a:cubicBezTo>
                      <a:pt x="4468" y="1844"/>
                      <a:pt x="4374" y="1657"/>
                      <a:pt x="4280" y="1500"/>
                    </a:cubicBezTo>
                    <a:cubicBezTo>
                      <a:pt x="4561" y="1063"/>
                      <a:pt x="4561" y="1063"/>
                      <a:pt x="4561" y="1063"/>
                    </a:cubicBezTo>
                    <a:cubicBezTo>
                      <a:pt x="4593" y="1032"/>
                      <a:pt x="4593" y="1000"/>
                      <a:pt x="4561" y="969"/>
                    </a:cubicBezTo>
                    <a:cubicBezTo>
                      <a:pt x="4124" y="532"/>
                      <a:pt x="4124" y="532"/>
                      <a:pt x="4124" y="532"/>
                    </a:cubicBezTo>
                    <a:cubicBezTo>
                      <a:pt x="4093" y="500"/>
                      <a:pt x="4061" y="500"/>
                      <a:pt x="4030" y="532"/>
                    </a:cubicBezTo>
                    <a:cubicBezTo>
                      <a:pt x="3593" y="813"/>
                      <a:pt x="3593" y="813"/>
                      <a:pt x="3593" y="813"/>
                    </a:cubicBezTo>
                    <a:cubicBezTo>
                      <a:pt x="3405" y="688"/>
                      <a:pt x="3249" y="625"/>
                      <a:pt x="3030" y="563"/>
                    </a:cubicBezTo>
                    <a:cubicBezTo>
                      <a:pt x="2905" y="63"/>
                      <a:pt x="2905" y="63"/>
                      <a:pt x="2905" y="63"/>
                    </a:cubicBezTo>
                    <a:cubicBezTo>
                      <a:pt x="2905" y="32"/>
                      <a:pt x="2874" y="0"/>
                      <a:pt x="2843" y="0"/>
                    </a:cubicBezTo>
                    <a:cubicBezTo>
                      <a:pt x="2250" y="0"/>
                      <a:pt x="2250" y="0"/>
                      <a:pt x="2250" y="0"/>
                    </a:cubicBezTo>
                    <a:cubicBezTo>
                      <a:pt x="2219" y="0"/>
                      <a:pt x="2187" y="32"/>
                      <a:pt x="2156" y="63"/>
                    </a:cubicBezTo>
                    <a:cubicBezTo>
                      <a:pt x="2031" y="563"/>
                      <a:pt x="2031" y="563"/>
                      <a:pt x="2031" y="563"/>
                    </a:cubicBezTo>
                    <a:cubicBezTo>
                      <a:pt x="1844" y="625"/>
                      <a:pt x="1656" y="688"/>
                      <a:pt x="1500" y="813"/>
                    </a:cubicBezTo>
                    <a:cubicBezTo>
                      <a:pt x="1031" y="532"/>
                      <a:pt x="1031" y="532"/>
                      <a:pt x="1031" y="532"/>
                    </a:cubicBezTo>
                    <a:cubicBezTo>
                      <a:pt x="1031" y="500"/>
                      <a:pt x="969" y="500"/>
                      <a:pt x="969" y="532"/>
                    </a:cubicBezTo>
                    <a:cubicBezTo>
                      <a:pt x="531" y="969"/>
                      <a:pt x="531" y="969"/>
                      <a:pt x="531" y="969"/>
                    </a:cubicBezTo>
                    <a:cubicBezTo>
                      <a:pt x="500" y="1000"/>
                      <a:pt x="500" y="1032"/>
                      <a:pt x="531" y="1063"/>
                    </a:cubicBezTo>
                    <a:cubicBezTo>
                      <a:pt x="812" y="1500"/>
                      <a:pt x="812" y="1500"/>
                      <a:pt x="812" y="1500"/>
                    </a:cubicBezTo>
                    <a:cubicBezTo>
                      <a:pt x="687" y="1688"/>
                      <a:pt x="625" y="1844"/>
                      <a:pt x="562" y="2063"/>
                    </a:cubicBezTo>
                    <a:cubicBezTo>
                      <a:pt x="62" y="2188"/>
                      <a:pt x="62" y="2188"/>
                      <a:pt x="62" y="2188"/>
                    </a:cubicBezTo>
                    <a:cubicBezTo>
                      <a:pt x="31" y="2188"/>
                      <a:pt x="0" y="2219"/>
                      <a:pt x="0" y="2250"/>
                    </a:cubicBezTo>
                    <a:cubicBezTo>
                      <a:pt x="0" y="2874"/>
                      <a:pt x="0" y="2874"/>
                      <a:pt x="0" y="2874"/>
                    </a:cubicBezTo>
                    <a:cubicBezTo>
                      <a:pt x="0" y="2874"/>
                      <a:pt x="31" y="2906"/>
                      <a:pt x="62" y="2937"/>
                    </a:cubicBezTo>
                    <a:cubicBezTo>
                      <a:pt x="562" y="3062"/>
                      <a:pt x="562" y="3062"/>
                      <a:pt x="562" y="3062"/>
                    </a:cubicBezTo>
                    <a:cubicBezTo>
                      <a:pt x="625" y="3249"/>
                      <a:pt x="687" y="3437"/>
                      <a:pt x="812" y="3593"/>
                    </a:cubicBezTo>
                    <a:cubicBezTo>
                      <a:pt x="531" y="4062"/>
                      <a:pt x="531" y="4062"/>
                      <a:pt x="531" y="4062"/>
                    </a:cubicBezTo>
                    <a:cubicBezTo>
                      <a:pt x="500" y="4093"/>
                      <a:pt x="500" y="4124"/>
                      <a:pt x="531" y="4124"/>
                    </a:cubicBezTo>
                    <a:cubicBezTo>
                      <a:pt x="969" y="4562"/>
                      <a:pt x="969" y="4562"/>
                      <a:pt x="969" y="4562"/>
                    </a:cubicBezTo>
                    <a:cubicBezTo>
                      <a:pt x="969" y="4593"/>
                      <a:pt x="1031" y="4593"/>
                      <a:pt x="1031" y="4593"/>
                    </a:cubicBezTo>
                    <a:cubicBezTo>
                      <a:pt x="1500" y="4312"/>
                      <a:pt x="1500" y="4312"/>
                      <a:pt x="1500" y="4312"/>
                    </a:cubicBezTo>
                    <a:cubicBezTo>
                      <a:pt x="1656" y="4406"/>
                      <a:pt x="1844" y="4468"/>
                      <a:pt x="2031" y="4531"/>
                    </a:cubicBezTo>
                    <a:cubicBezTo>
                      <a:pt x="2156" y="5062"/>
                      <a:pt x="2156" y="5062"/>
                      <a:pt x="2156" y="5062"/>
                    </a:cubicBezTo>
                    <a:cubicBezTo>
                      <a:pt x="2187" y="5062"/>
                      <a:pt x="2219" y="5093"/>
                      <a:pt x="2250" y="5093"/>
                    </a:cubicBezTo>
                    <a:cubicBezTo>
                      <a:pt x="2843" y="5093"/>
                      <a:pt x="2843" y="5093"/>
                      <a:pt x="2843" y="5093"/>
                    </a:cubicBezTo>
                    <a:cubicBezTo>
                      <a:pt x="2874" y="5093"/>
                      <a:pt x="2905" y="5062"/>
                      <a:pt x="2905" y="5062"/>
                    </a:cubicBezTo>
                    <a:cubicBezTo>
                      <a:pt x="3061" y="4531"/>
                      <a:pt x="3061" y="4531"/>
                      <a:pt x="3061" y="4531"/>
                    </a:cubicBezTo>
                    <a:cubicBezTo>
                      <a:pt x="3249" y="4468"/>
                      <a:pt x="3436" y="4406"/>
                      <a:pt x="3593" y="4312"/>
                    </a:cubicBezTo>
                    <a:cubicBezTo>
                      <a:pt x="4061" y="4593"/>
                      <a:pt x="4061" y="4593"/>
                      <a:pt x="4061" y="4593"/>
                    </a:cubicBezTo>
                    <a:cubicBezTo>
                      <a:pt x="4061" y="4593"/>
                      <a:pt x="4124" y="4593"/>
                      <a:pt x="4124" y="4562"/>
                    </a:cubicBezTo>
                    <a:cubicBezTo>
                      <a:pt x="4561" y="4124"/>
                      <a:pt x="4561" y="4124"/>
                      <a:pt x="4561" y="4124"/>
                    </a:cubicBezTo>
                    <a:cubicBezTo>
                      <a:pt x="4593" y="4124"/>
                      <a:pt x="4593" y="4093"/>
                      <a:pt x="4561" y="4062"/>
                    </a:cubicBezTo>
                    <a:cubicBezTo>
                      <a:pt x="4311" y="3593"/>
                      <a:pt x="4311" y="3593"/>
                      <a:pt x="4311" y="3593"/>
                    </a:cubicBezTo>
                    <a:cubicBezTo>
                      <a:pt x="4405" y="3437"/>
                      <a:pt x="4468" y="3249"/>
                      <a:pt x="4530" y="3062"/>
                    </a:cubicBezTo>
                    <a:cubicBezTo>
                      <a:pt x="5030" y="2937"/>
                      <a:pt x="5030" y="2937"/>
                      <a:pt x="5030" y="2937"/>
                    </a:cubicBezTo>
                    <a:cubicBezTo>
                      <a:pt x="5061" y="2937"/>
                      <a:pt x="5093" y="2906"/>
                      <a:pt x="5093" y="2874"/>
                    </a:cubicBezTo>
                    <a:cubicBezTo>
                      <a:pt x="5093" y="2250"/>
                      <a:pt x="5093" y="2250"/>
                      <a:pt x="5093" y="2250"/>
                    </a:cubicBezTo>
                    <a:cubicBezTo>
                      <a:pt x="5093" y="2219"/>
                      <a:pt x="5061" y="2188"/>
                      <a:pt x="5030" y="2188"/>
                    </a:cubicBezTo>
                  </a:path>
                </a:pathLst>
              </a:custGeom>
              <a:solidFill>
                <a:srgbClr val="004A4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5" name="Freeform 8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503363" y="2667000"/>
                <a:ext cx="776287" cy="674688"/>
              </a:xfrm>
              <a:custGeom>
                <a:avLst/>
                <a:gdLst>
                  <a:gd name="T0" fmla="*/ 1967 w 2156"/>
                  <a:gd name="T1" fmla="*/ 343 h 1875"/>
                  <a:gd name="T2" fmla="*/ 1967 w 2156"/>
                  <a:gd name="T3" fmla="*/ 343 h 1875"/>
                  <a:gd name="T4" fmla="*/ 1530 w 2156"/>
                  <a:gd name="T5" fmla="*/ 343 h 1875"/>
                  <a:gd name="T6" fmla="*/ 1530 w 2156"/>
                  <a:gd name="T7" fmla="*/ 62 h 1875"/>
                  <a:gd name="T8" fmla="*/ 1436 w 2156"/>
                  <a:gd name="T9" fmla="*/ 0 h 1875"/>
                  <a:gd name="T10" fmla="*/ 718 w 2156"/>
                  <a:gd name="T11" fmla="*/ 0 h 1875"/>
                  <a:gd name="T12" fmla="*/ 625 w 2156"/>
                  <a:gd name="T13" fmla="*/ 62 h 1875"/>
                  <a:gd name="T14" fmla="*/ 625 w 2156"/>
                  <a:gd name="T15" fmla="*/ 343 h 1875"/>
                  <a:gd name="T16" fmla="*/ 187 w 2156"/>
                  <a:gd name="T17" fmla="*/ 343 h 1875"/>
                  <a:gd name="T18" fmla="*/ 0 w 2156"/>
                  <a:gd name="T19" fmla="*/ 531 h 1875"/>
                  <a:gd name="T20" fmla="*/ 0 w 2156"/>
                  <a:gd name="T21" fmla="*/ 1686 h 1875"/>
                  <a:gd name="T22" fmla="*/ 187 w 2156"/>
                  <a:gd name="T23" fmla="*/ 1874 h 1875"/>
                  <a:gd name="T24" fmla="*/ 1967 w 2156"/>
                  <a:gd name="T25" fmla="*/ 1874 h 1875"/>
                  <a:gd name="T26" fmla="*/ 2155 w 2156"/>
                  <a:gd name="T27" fmla="*/ 1686 h 1875"/>
                  <a:gd name="T28" fmla="*/ 2155 w 2156"/>
                  <a:gd name="T29" fmla="*/ 531 h 1875"/>
                  <a:gd name="T30" fmla="*/ 1967 w 2156"/>
                  <a:gd name="T31" fmla="*/ 343 h 1875"/>
                  <a:gd name="T32" fmla="*/ 781 w 2156"/>
                  <a:gd name="T33" fmla="*/ 156 h 1875"/>
                  <a:gd name="T34" fmla="*/ 781 w 2156"/>
                  <a:gd name="T35" fmla="*/ 156 h 1875"/>
                  <a:gd name="T36" fmla="*/ 812 w 2156"/>
                  <a:gd name="T37" fmla="*/ 93 h 1875"/>
                  <a:gd name="T38" fmla="*/ 1342 w 2156"/>
                  <a:gd name="T39" fmla="*/ 93 h 1875"/>
                  <a:gd name="T40" fmla="*/ 1374 w 2156"/>
                  <a:gd name="T41" fmla="*/ 156 h 1875"/>
                  <a:gd name="T42" fmla="*/ 1374 w 2156"/>
                  <a:gd name="T43" fmla="*/ 343 h 1875"/>
                  <a:gd name="T44" fmla="*/ 781 w 2156"/>
                  <a:gd name="T45" fmla="*/ 343 h 1875"/>
                  <a:gd name="T46" fmla="*/ 781 w 2156"/>
                  <a:gd name="T47" fmla="*/ 156 h 1875"/>
                  <a:gd name="T48" fmla="*/ 1561 w 2156"/>
                  <a:gd name="T49" fmla="*/ 1248 h 1875"/>
                  <a:gd name="T50" fmla="*/ 1561 w 2156"/>
                  <a:gd name="T51" fmla="*/ 1248 h 1875"/>
                  <a:gd name="T52" fmla="*/ 1217 w 2156"/>
                  <a:gd name="T53" fmla="*/ 1248 h 1875"/>
                  <a:gd name="T54" fmla="*/ 1217 w 2156"/>
                  <a:gd name="T55" fmla="*/ 1592 h 1875"/>
                  <a:gd name="T56" fmla="*/ 937 w 2156"/>
                  <a:gd name="T57" fmla="*/ 1592 h 1875"/>
                  <a:gd name="T58" fmla="*/ 937 w 2156"/>
                  <a:gd name="T59" fmla="*/ 1248 h 1875"/>
                  <a:gd name="T60" fmla="*/ 593 w 2156"/>
                  <a:gd name="T61" fmla="*/ 1248 h 1875"/>
                  <a:gd name="T62" fmla="*/ 593 w 2156"/>
                  <a:gd name="T63" fmla="*/ 968 h 1875"/>
                  <a:gd name="T64" fmla="*/ 937 w 2156"/>
                  <a:gd name="T65" fmla="*/ 968 h 1875"/>
                  <a:gd name="T66" fmla="*/ 937 w 2156"/>
                  <a:gd name="T67" fmla="*/ 625 h 1875"/>
                  <a:gd name="T68" fmla="*/ 1217 w 2156"/>
                  <a:gd name="T69" fmla="*/ 625 h 1875"/>
                  <a:gd name="T70" fmla="*/ 1217 w 2156"/>
                  <a:gd name="T71" fmla="*/ 968 h 1875"/>
                  <a:gd name="T72" fmla="*/ 1561 w 2156"/>
                  <a:gd name="T73" fmla="*/ 968 h 1875"/>
                  <a:gd name="T74" fmla="*/ 1561 w 2156"/>
                  <a:gd name="T75" fmla="*/ 1248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56" h="1875">
                    <a:moveTo>
                      <a:pt x="1967" y="343"/>
                    </a:moveTo>
                    <a:lnTo>
                      <a:pt x="1967" y="343"/>
                    </a:lnTo>
                    <a:cubicBezTo>
                      <a:pt x="1530" y="343"/>
                      <a:pt x="1530" y="343"/>
                      <a:pt x="1530" y="343"/>
                    </a:cubicBezTo>
                    <a:cubicBezTo>
                      <a:pt x="1530" y="62"/>
                      <a:pt x="1530" y="62"/>
                      <a:pt x="1530" y="62"/>
                    </a:cubicBezTo>
                    <a:cubicBezTo>
                      <a:pt x="1530" y="31"/>
                      <a:pt x="1499" y="0"/>
                      <a:pt x="1436" y="0"/>
                    </a:cubicBezTo>
                    <a:cubicBezTo>
                      <a:pt x="718" y="0"/>
                      <a:pt x="718" y="0"/>
                      <a:pt x="718" y="0"/>
                    </a:cubicBezTo>
                    <a:cubicBezTo>
                      <a:pt x="656" y="0"/>
                      <a:pt x="625" y="31"/>
                      <a:pt x="625" y="62"/>
                    </a:cubicBezTo>
                    <a:cubicBezTo>
                      <a:pt x="625" y="343"/>
                      <a:pt x="625" y="343"/>
                      <a:pt x="625" y="343"/>
                    </a:cubicBezTo>
                    <a:cubicBezTo>
                      <a:pt x="187" y="343"/>
                      <a:pt x="187" y="343"/>
                      <a:pt x="187" y="343"/>
                    </a:cubicBezTo>
                    <a:cubicBezTo>
                      <a:pt x="93" y="343"/>
                      <a:pt x="0" y="406"/>
                      <a:pt x="0" y="531"/>
                    </a:cubicBezTo>
                    <a:cubicBezTo>
                      <a:pt x="0" y="1686"/>
                      <a:pt x="0" y="1686"/>
                      <a:pt x="0" y="1686"/>
                    </a:cubicBezTo>
                    <a:cubicBezTo>
                      <a:pt x="0" y="1780"/>
                      <a:pt x="93" y="1874"/>
                      <a:pt x="187" y="1874"/>
                    </a:cubicBezTo>
                    <a:cubicBezTo>
                      <a:pt x="1967" y="1874"/>
                      <a:pt x="1967" y="1874"/>
                      <a:pt x="1967" y="1874"/>
                    </a:cubicBezTo>
                    <a:cubicBezTo>
                      <a:pt x="2061" y="1874"/>
                      <a:pt x="2155" y="1780"/>
                      <a:pt x="2155" y="1686"/>
                    </a:cubicBezTo>
                    <a:cubicBezTo>
                      <a:pt x="2155" y="531"/>
                      <a:pt x="2155" y="531"/>
                      <a:pt x="2155" y="531"/>
                    </a:cubicBezTo>
                    <a:cubicBezTo>
                      <a:pt x="2155" y="406"/>
                      <a:pt x="2061" y="343"/>
                      <a:pt x="1967" y="343"/>
                    </a:cubicBezTo>
                    <a:close/>
                    <a:moveTo>
                      <a:pt x="781" y="156"/>
                    </a:moveTo>
                    <a:lnTo>
                      <a:pt x="781" y="156"/>
                    </a:lnTo>
                    <a:cubicBezTo>
                      <a:pt x="781" y="125"/>
                      <a:pt x="781" y="93"/>
                      <a:pt x="812" y="93"/>
                    </a:cubicBezTo>
                    <a:cubicBezTo>
                      <a:pt x="1342" y="93"/>
                      <a:pt x="1342" y="93"/>
                      <a:pt x="1342" y="93"/>
                    </a:cubicBezTo>
                    <a:cubicBezTo>
                      <a:pt x="1342" y="93"/>
                      <a:pt x="1374" y="125"/>
                      <a:pt x="1374" y="156"/>
                    </a:cubicBezTo>
                    <a:cubicBezTo>
                      <a:pt x="1374" y="343"/>
                      <a:pt x="1374" y="343"/>
                      <a:pt x="1374" y="343"/>
                    </a:cubicBezTo>
                    <a:cubicBezTo>
                      <a:pt x="781" y="343"/>
                      <a:pt x="781" y="343"/>
                      <a:pt x="781" y="343"/>
                    </a:cubicBezTo>
                    <a:lnTo>
                      <a:pt x="781" y="156"/>
                    </a:lnTo>
                    <a:close/>
                    <a:moveTo>
                      <a:pt x="1561" y="1248"/>
                    </a:moveTo>
                    <a:lnTo>
                      <a:pt x="1561" y="1248"/>
                    </a:lnTo>
                    <a:cubicBezTo>
                      <a:pt x="1217" y="1248"/>
                      <a:pt x="1217" y="1248"/>
                      <a:pt x="1217" y="1248"/>
                    </a:cubicBezTo>
                    <a:cubicBezTo>
                      <a:pt x="1217" y="1592"/>
                      <a:pt x="1217" y="1592"/>
                      <a:pt x="1217" y="1592"/>
                    </a:cubicBezTo>
                    <a:cubicBezTo>
                      <a:pt x="937" y="1592"/>
                      <a:pt x="937" y="1592"/>
                      <a:pt x="937" y="1592"/>
                    </a:cubicBezTo>
                    <a:cubicBezTo>
                      <a:pt x="937" y="1248"/>
                      <a:pt x="937" y="1248"/>
                      <a:pt x="937" y="1248"/>
                    </a:cubicBezTo>
                    <a:cubicBezTo>
                      <a:pt x="593" y="1248"/>
                      <a:pt x="593" y="1248"/>
                      <a:pt x="593" y="1248"/>
                    </a:cubicBezTo>
                    <a:cubicBezTo>
                      <a:pt x="593" y="968"/>
                      <a:pt x="593" y="968"/>
                      <a:pt x="593" y="968"/>
                    </a:cubicBezTo>
                    <a:cubicBezTo>
                      <a:pt x="937" y="968"/>
                      <a:pt x="937" y="968"/>
                      <a:pt x="937" y="968"/>
                    </a:cubicBezTo>
                    <a:cubicBezTo>
                      <a:pt x="937" y="625"/>
                      <a:pt x="937" y="625"/>
                      <a:pt x="937" y="625"/>
                    </a:cubicBezTo>
                    <a:cubicBezTo>
                      <a:pt x="1217" y="625"/>
                      <a:pt x="1217" y="625"/>
                      <a:pt x="1217" y="625"/>
                    </a:cubicBezTo>
                    <a:cubicBezTo>
                      <a:pt x="1217" y="968"/>
                      <a:pt x="1217" y="968"/>
                      <a:pt x="1217" y="968"/>
                    </a:cubicBezTo>
                    <a:cubicBezTo>
                      <a:pt x="1561" y="968"/>
                      <a:pt x="1561" y="968"/>
                      <a:pt x="1561" y="968"/>
                    </a:cubicBezTo>
                    <a:lnTo>
                      <a:pt x="1561" y="12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6425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plan (grobe Skizze)</a:t>
            </a:r>
            <a:endParaRPr lang="de-DE" dirty="0"/>
          </a:p>
        </p:txBody>
      </p:sp>
      <p:sp>
        <p:nvSpPr>
          <p:cNvPr id="36" name="MIO_OBJECT1"/>
          <p:cNvSpPr>
            <a:spLocks/>
          </p:cNvSpPr>
          <p:nvPr/>
        </p:nvSpPr>
        <p:spPr>
          <a:xfrm>
            <a:off x="9055371" y="3587211"/>
            <a:ext cx="169507" cy="156775"/>
          </a:xfrm>
          <a:prstGeom prst="diamond">
            <a:avLst/>
          </a:prstGeom>
          <a:solidFill>
            <a:schemeClr val="accent6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dirty="0" err="1">
              <a:solidFill>
                <a:schemeClr val="bg1"/>
              </a:solidFill>
            </a:endParaRPr>
          </a:p>
        </p:txBody>
      </p:sp>
      <p:sp>
        <p:nvSpPr>
          <p:cNvPr id="19" name="MIO_OBJECT1"/>
          <p:cNvSpPr>
            <a:spLocks/>
          </p:cNvSpPr>
          <p:nvPr/>
        </p:nvSpPr>
        <p:spPr>
          <a:xfrm>
            <a:off x="960440" y="3665656"/>
            <a:ext cx="1737438" cy="58791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08" tIns="66472" rIns="99708" bIns="66472" rtlCol="0" anchor="ctr" anchorCtr="0"/>
          <a:lstStyle/>
          <a:p>
            <a:pPr algn="ctr"/>
            <a:r>
              <a:rPr lang="de-DE" b="1" dirty="0" smtClean="0"/>
              <a:t>November</a:t>
            </a:r>
            <a:endParaRPr lang="de-DE" b="1" dirty="0"/>
          </a:p>
        </p:txBody>
      </p:sp>
      <p:sp>
        <p:nvSpPr>
          <p:cNvPr id="21" name="MIO_OBJECT1"/>
          <p:cNvSpPr>
            <a:spLocks/>
          </p:cNvSpPr>
          <p:nvPr/>
        </p:nvSpPr>
        <p:spPr>
          <a:xfrm>
            <a:off x="2788696" y="3665656"/>
            <a:ext cx="1737438" cy="58791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08" tIns="66472" rIns="99708" bIns="66472" rtlCol="0" anchor="ctr" anchorCtr="0"/>
          <a:lstStyle/>
          <a:p>
            <a:pPr algn="ctr"/>
            <a:r>
              <a:rPr lang="de-DE" b="1" dirty="0" smtClean="0">
                <a:solidFill>
                  <a:schemeClr val="dk1"/>
                </a:solidFill>
              </a:rPr>
              <a:t>Dezember</a:t>
            </a:r>
            <a:endParaRPr lang="de-DE" b="1" dirty="0">
              <a:solidFill>
                <a:schemeClr val="dk1"/>
              </a:solidFill>
            </a:endParaRPr>
          </a:p>
        </p:txBody>
      </p:sp>
      <p:sp>
        <p:nvSpPr>
          <p:cNvPr id="24" name="MIO_OBJECT1"/>
          <p:cNvSpPr>
            <a:spLocks/>
          </p:cNvSpPr>
          <p:nvPr/>
        </p:nvSpPr>
        <p:spPr>
          <a:xfrm>
            <a:off x="4611086" y="3665656"/>
            <a:ext cx="1737438" cy="58791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08" tIns="66472" rIns="99708" bIns="66472" rtlCol="0" anchor="ctr" anchorCtr="0"/>
          <a:lstStyle/>
          <a:p>
            <a:pPr algn="ctr"/>
            <a:r>
              <a:rPr lang="de-DE" b="1" dirty="0" smtClean="0"/>
              <a:t>Januar</a:t>
            </a:r>
            <a:endParaRPr lang="de-DE" b="1" dirty="0"/>
          </a:p>
        </p:txBody>
      </p:sp>
      <p:sp>
        <p:nvSpPr>
          <p:cNvPr id="26" name="MIO_OBJECT1"/>
          <p:cNvSpPr>
            <a:spLocks/>
          </p:cNvSpPr>
          <p:nvPr/>
        </p:nvSpPr>
        <p:spPr>
          <a:xfrm>
            <a:off x="6433479" y="3665656"/>
            <a:ext cx="1737438" cy="58791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08" tIns="66472" rIns="99708" bIns="66472" rtlCol="0" anchor="ctr" anchorCtr="0"/>
          <a:lstStyle/>
          <a:p>
            <a:pPr algn="ctr"/>
            <a:r>
              <a:rPr lang="de-DE" b="1" dirty="0" smtClean="0"/>
              <a:t>Februar</a:t>
            </a:r>
            <a:endParaRPr lang="de-DE" b="1" dirty="0"/>
          </a:p>
        </p:txBody>
      </p:sp>
      <p:sp>
        <p:nvSpPr>
          <p:cNvPr id="29" name="MIO_OBJECT1"/>
          <p:cNvSpPr>
            <a:spLocks/>
          </p:cNvSpPr>
          <p:nvPr/>
        </p:nvSpPr>
        <p:spPr>
          <a:xfrm>
            <a:off x="8250011" y="3665656"/>
            <a:ext cx="1737438" cy="587911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08" tIns="66472" rIns="99708" bIns="66472" rtlCol="0" anchor="ctr" anchorCtr="0"/>
          <a:lstStyle/>
          <a:p>
            <a:pPr algn="ctr"/>
            <a:r>
              <a:rPr lang="de-DE" b="1" dirty="0" smtClean="0"/>
              <a:t>März</a:t>
            </a:r>
            <a:endParaRPr lang="de-DE" b="1" dirty="0"/>
          </a:p>
        </p:txBody>
      </p:sp>
      <p:sp>
        <p:nvSpPr>
          <p:cNvPr id="32" name="MIO_OBJECT1"/>
          <p:cNvSpPr>
            <a:spLocks/>
          </p:cNvSpPr>
          <p:nvPr/>
        </p:nvSpPr>
        <p:spPr>
          <a:xfrm>
            <a:off x="10072403" y="3665656"/>
            <a:ext cx="1737438" cy="58791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08" tIns="66472" rIns="99708" bIns="66472" rtlCol="0" anchor="ctr" anchorCtr="0"/>
          <a:lstStyle/>
          <a:p>
            <a:pPr algn="ctr"/>
            <a:r>
              <a:rPr lang="de-DE" b="1" dirty="0" smtClean="0"/>
              <a:t>April</a:t>
            </a:r>
            <a:endParaRPr lang="de-DE" b="1" dirty="0"/>
          </a:p>
        </p:txBody>
      </p:sp>
      <p:sp>
        <p:nvSpPr>
          <p:cNvPr id="6" name="MIO_OBJECT1"/>
          <p:cNvSpPr>
            <a:spLocks/>
          </p:cNvSpPr>
          <p:nvPr/>
        </p:nvSpPr>
        <p:spPr>
          <a:xfrm>
            <a:off x="1765511" y="3587211"/>
            <a:ext cx="169507" cy="156775"/>
          </a:xfrm>
          <a:prstGeom prst="diamond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9" name="MIO_LINE"/>
          <p:cNvCxnSpPr>
            <a:cxnSpLocks/>
          </p:cNvCxnSpPr>
          <p:nvPr/>
        </p:nvCxnSpPr>
        <p:spPr>
          <a:xfrm flipV="1">
            <a:off x="1850251" y="2133650"/>
            <a:ext cx="0" cy="1453314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MIO_OBJECT1"/>
          <p:cNvSpPr>
            <a:spLocks/>
          </p:cNvSpPr>
          <p:nvPr/>
        </p:nvSpPr>
        <p:spPr>
          <a:xfrm>
            <a:off x="5410583" y="3587211"/>
            <a:ext cx="169507" cy="156775"/>
          </a:xfrm>
          <a:prstGeom prst="diamond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35" name="MIO_LINE"/>
          <p:cNvCxnSpPr>
            <a:cxnSpLocks/>
          </p:cNvCxnSpPr>
          <p:nvPr/>
        </p:nvCxnSpPr>
        <p:spPr>
          <a:xfrm flipV="1">
            <a:off x="5495325" y="1773610"/>
            <a:ext cx="0" cy="1813354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MIO_LINE"/>
          <p:cNvCxnSpPr>
            <a:cxnSpLocks/>
          </p:cNvCxnSpPr>
          <p:nvPr/>
        </p:nvCxnSpPr>
        <p:spPr>
          <a:xfrm flipV="1">
            <a:off x="9140109" y="2781722"/>
            <a:ext cx="0" cy="805242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MIO_OBJECT1"/>
          <p:cNvSpPr>
            <a:spLocks/>
          </p:cNvSpPr>
          <p:nvPr/>
        </p:nvSpPr>
        <p:spPr>
          <a:xfrm>
            <a:off x="3545504" y="4175171"/>
            <a:ext cx="169507" cy="156775"/>
          </a:xfrm>
          <a:prstGeom prst="diamond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0" name="MIO_LINE"/>
          <p:cNvCxnSpPr>
            <a:cxnSpLocks/>
          </p:cNvCxnSpPr>
          <p:nvPr/>
        </p:nvCxnSpPr>
        <p:spPr>
          <a:xfrm flipV="1">
            <a:off x="3630244" y="4331963"/>
            <a:ext cx="0" cy="1431007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MIO_OBJECT1"/>
          <p:cNvSpPr>
            <a:spLocks/>
          </p:cNvSpPr>
          <p:nvPr/>
        </p:nvSpPr>
        <p:spPr>
          <a:xfrm>
            <a:off x="7190290" y="4175171"/>
            <a:ext cx="169507" cy="156775"/>
          </a:xfrm>
          <a:prstGeom prst="diamond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3" name="MIO_LINE"/>
          <p:cNvCxnSpPr>
            <a:cxnSpLocks/>
          </p:cNvCxnSpPr>
          <p:nvPr/>
        </p:nvCxnSpPr>
        <p:spPr>
          <a:xfrm flipV="1">
            <a:off x="7275029" y="4331963"/>
            <a:ext cx="0" cy="143100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MIO_OBJECT1"/>
          <p:cNvSpPr>
            <a:spLocks/>
          </p:cNvSpPr>
          <p:nvPr/>
        </p:nvSpPr>
        <p:spPr>
          <a:xfrm>
            <a:off x="10835075" y="4175176"/>
            <a:ext cx="169507" cy="156775"/>
          </a:xfrm>
          <a:prstGeom prst="diamond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164145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6" name="MIO_LINE"/>
          <p:cNvCxnSpPr>
            <a:cxnSpLocks/>
          </p:cNvCxnSpPr>
          <p:nvPr/>
        </p:nvCxnSpPr>
        <p:spPr>
          <a:xfrm flipV="1">
            <a:off x="10919815" y="4331968"/>
            <a:ext cx="0" cy="111405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MIO_TEXTBOX_BODY"/>
          <p:cNvSpPr txBox="1">
            <a:spLocks/>
          </p:cNvSpPr>
          <p:nvPr/>
        </p:nvSpPr>
        <p:spPr>
          <a:xfrm>
            <a:off x="1935016" y="2133650"/>
            <a:ext cx="2584969" cy="137441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6472" tIns="66472" rIns="66472" bIns="66472" rtlCol="0">
            <a:no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1pPr>
            <a:lvl2pPr marL="446088" indent="-16668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2pPr>
            <a:lvl3pPr marL="804863" indent="-1603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3pPr>
            <a:lvl4pPr marL="1074738" indent="-152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4pPr>
            <a:lvl5pPr marL="1343025" indent="-144463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»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Einarbeitung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Betriebsarten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Sicherheitskonzept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/>
              <a:t>Hardware</a:t>
            </a:r>
            <a:r>
              <a:rPr lang="de-DE" sz="1400" dirty="0"/>
              <a:t> </a:t>
            </a:r>
            <a:r>
              <a:rPr lang="de-DE" dirty="0"/>
              <a:t>Architektur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endParaRPr lang="de-DE" dirty="0" smtClean="0">
              <a:latin typeface="+mn-lt"/>
              <a:cs typeface="+mn-cs"/>
            </a:endParaRP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endParaRPr lang="de-DE" dirty="0" smtClean="0">
              <a:latin typeface="+mn-lt"/>
              <a:cs typeface="+mn-cs"/>
            </a:endParaRPr>
          </a:p>
          <a:p>
            <a:endParaRPr lang="de-DE" sz="1400" dirty="0"/>
          </a:p>
        </p:txBody>
      </p:sp>
      <p:sp>
        <p:nvSpPr>
          <p:cNvPr id="47" name="MIO_TEXTBOX_BODY"/>
          <p:cNvSpPr txBox="1">
            <a:spLocks/>
          </p:cNvSpPr>
          <p:nvPr/>
        </p:nvSpPr>
        <p:spPr>
          <a:xfrm>
            <a:off x="5580086" y="1773610"/>
            <a:ext cx="2584969" cy="173445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6472" tIns="66472" rIns="66472" bIns="66472" rtlCol="0">
            <a:no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1pPr>
            <a:lvl2pPr marL="446088" indent="-16668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2pPr>
            <a:lvl3pPr marL="804863" indent="-1603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3pPr>
            <a:lvl4pPr marL="1074738" indent="-152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4pPr>
            <a:lvl5pPr marL="1343025" indent="-144463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»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/>
              <a:t>Schaltungsentwurf</a:t>
            </a:r>
            <a:endParaRPr lang="de-DE" dirty="0"/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Definition</a:t>
            </a:r>
            <a:r>
              <a:rPr lang="de-DE" dirty="0"/>
              <a:t>/Analyse</a:t>
            </a:r>
            <a:r>
              <a:rPr lang="de-DE" dirty="0" smtClean="0">
                <a:latin typeface="+mn-lt"/>
                <a:cs typeface="+mn-cs"/>
              </a:rPr>
              <a:t> Parameter &amp; Steuerstrategien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/>
              <a:t>Software </a:t>
            </a:r>
            <a:r>
              <a:rPr lang="de-DE" dirty="0"/>
              <a:t>Implementierung</a:t>
            </a:r>
            <a:endParaRPr lang="de-DE" sz="1400" dirty="0"/>
          </a:p>
          <a:p>
            <a:pPr marL="0" indent="0" defTabSz="457200">
              <a:spcBef>
                <a:spcPct val="20000"/>
              </a:spcBef>
              <a:buClr>
                <a:schemeClr val="accent2"/>
              </a:buClr>
              <a:buNone/>
            </a:pPr>
            <a:endParaRPr lang="de-DE" sz="1400" dirty="0" smtClean="0">
              <a:latin typeface="+mn-lt"/>
              <a:cs typeface="+mn-cs"/>
            </a:endParaRP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endParaRPr lang="de-DE" dirty="0" smtClean="0">
              <a:latin typeface="+mn-lt"/>
              <a:cs typeface="+mn-cs"/>
            </a:endParaRPr>
          </a:p>
        </p:txBody>
      </p:sp>
      <p:sp>
        <p:nvSpPr>
          <p:cNvPr id="48" name="MIO_TEXTBOX_BODY"/>
          <p:cNvSpPr txBox="1">
            <a:spLocks/>
          </p:cNvSpPr>
          <p:nvPr/>
        </p:nvSpPr>
        <p:spPr>
          <a:xfrm>
            <a:off x="9224874" y="2781722"/>
            <a:ext cx="2584969" cy="72634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6472" tIns="66472" rIns="66472" bIns="66472" rtlCol="0">
            <a:no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1pPr>
            <a:lvl2pPr marL="446088" indent="-16668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2pPr>
            <a:lvl3pPr marL="804863" indent="-1603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3pPr>
            <a:lvl4pPr marL="1074738" indent="-152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4pPr>
            <a:lvl5pPr marL="1343025" indent="-144463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»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Test &amp; Nachweise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Softwareiteration</a:t>
            </a:r>
          </a:p>
          <a:p>
            <a:endParaRPr lang="de-DE" sz="1400" dirty="0"/>
          </a:p>
        </p:txBody>
      </p:sp>
      <p:sp>
        <p:nvSpPr>
          <p:cNvPr id="49" name="MIO_TEXTBOX_BODY"/>
          <p:cNvSpPr txBox="1">
            <a:spLocks/>
          </p:cNvSpPr>
          <p:nvPr/>
        </p:nvSpPr>
        <p:spPr>
          <a:xfrm>
            <a:off x="960249" y="4410580"/>
            <a:ext cx="2584969" cy="13523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6472" tIns="66472" rIns="66472" bIns="66472" rtlCol="0">
            <a:no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1pPr>
            <a:lvl2pPr marL="446088" indent="-16668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2pPr>
            <a:lvl3pPr marL="804863" indent="-1603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3pPr>
            <a:lvl4pPr marL="1074738" indent="-152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4pPr>
            <a:lvl5pPr marL="1343025" indent="-144463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»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Abschätzen  Heizleistung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Komponentenauswahl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Stand der Technik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endParaRPr lang="de-DE" dirty="0" smtClean="0">
              <a:latin typeface="+mn-lt"/>
              <a:cs typeface="+mn-cs"/>
            </a:endParaRPr>
          </a:p>
          <a:p>
            <a:endParaRPr lang="de-DE" sz="1400" dirty="0"/>
          </a:p>
        </p:txBody>
      </p:sp>
      <p:sp>
        <p:nvSpPr>
          <p:cNvPr id="50" name="MIO_TEXTBOX_BODY"/>
          <p:cNvSpPr txBox="1">
            <a:spLocks/>
          </p:cNvSpPr>
          <p:nvPr/>
        </p:nvSpPr>
        <p:spPr>
          <a:xfrm>
            <a:off x="4605032" y="4410580"/>
            <a:ext cx="2584969" cy="13523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6472" tIns="66472" rIns="66472" bIns="66472" rtlCol="0">
            <a:no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1pPr>
            <a:lvl2pPr marL="446088" indent="-16668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2pPr>
            <a:lvl3pPr marL="804863" indent="-1603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3pPr>
            <a:lvl4pPr marL="1074738" indent="-152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4pPr>
            <a:lvl5pPr marL="1343025" indent="-144463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»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Aufbau Prototypen für Versuche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Software Inbetriebnahme</a:t>
            </a:r>
          </a:p>
          <a:p>
            <a:endParaRPr lang="de-DE" sz="1400" dirty="0"/>
          </a:p>
        </p:txBody>
      </p:sp>
      <p:sp>
        <p:nvSpPr>
          <p:cNvPr id="51" name="MIO_TEXTBOX_BODY"/>
          <p:cNvSpPr txBox="1">
            <a:spLocks/>
          </p:cNvSpPr>
          <p:nvPr/>
        </p:nvSpPr>
        <p:spPr>
          <a:xfrm>
            <a:off x="8249816" y="4410583"/>
            <a:ext cx="2584969" cy="103543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6472" tIns="66472" rIns="66472" bIns="66472" rtlCol="0">
            <a:noAutofit/>
          </a:bodyPr>
          <a:lstStyle>
            <a:lvl1pPr marL="177800" indent="-1778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1pPr>
            <a:lvl2pPr marL="446088" indent="-16668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2pPr>
            <a:lvl3pPr marL="804863" indent="-1603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3pPr>
            <a:lvl4pPr marL="1074738" indent="-152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–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4pPr>
            <a:lvl5pPr marL="1343025" indent="-144463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itchFamily="34" charset="0"/>
              <a:buChar char="»"/>
              <a:defRPr lang="de-DE" sz="1400" kern="1200" dirty="0">
                <a:solidFill>
                  <a:schemeClr val="tx1"/>
                </a:solidFill>
                <a:latin typeface="Swis721 Mio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Auswertung Versuche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Zeitpuffer</a:t>
            </a:r>
          </a:p>
          <a:p>
            <a:pPr marL="269875" indent="-269875" defTabSz="457200">
              <a:spcBef>
                <a:spcPct val="20000"/>
              </a:spcBef>
              <a:buClr>
                <a:schemeClr val="accent2"/>
              </a:buClr>
              <a:buFont typeface="Lucida Grande"/>
              <a:buChar char="■"/>
            </a:pPr>
            <a:r>
              <a:rPr lang="de-DE" dirty="0" smtClean="0">
                <a:latin typeface="+mn-lt"/>
                <a:cs typeface="+mn-cs"/>
              </a:rPr>
              <a:t>Schreiben</a:t>
            </a:r>
          </a:p>
          <a:p>
            <a:endParaRPr lang="de-DE" sz="140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12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8129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181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559" y="540125"/>
            <a:ext cx="5316481" cy="5954456"/>
          </a:xfrm>
          <a:prstGeom prst="rect">
            <a:avLst/>
          </a:prstGeom>
        </p:spPr>
      </p:pic>
      <p:pic>
        <p:nvPicPr>
          <p:cNvPr id="3" name="Inhaltsplatzhalter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95" y="1296172"/>
            <a:ext cx="5184576" cy="545036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ntergrundfolien</a:t>
            </a:r>
            <a:br>
              <a:rPr lang="de-DE" dirty="0"/>
            </a:br>
            <a:r>
              <a:rPr lang="de-DE" dirty="0">
                <a:solidFill>
                  <a:schemeClr val="accent2"/>
                </a:solidFill>
              </a:rPr>
              <a:t>Jungheinrich 24V 360Ah Li-Ionen Batteri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965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ntergrundfolien</a:t>
            </a:r>
            <a:br>
              <a:rPr lang="de-DE" dirty="0"/>
            </a:br>
            <a:r>
              <a:rPr lang="de-DE" dirty="0">
                <a:solidFill>
                  <a:schemeClr val="accent2"/>
                </a:solidFill>
              </a:rPr>
              <a:t>Explosionsansicht Baugruppe Stack 2.0</a:t>
            </a:r>
          </a:p>
        </p:txBody>
      </p:sp>
      <p:pic>
        <p:nvPicPr>
          <p:cNvPr id="6" name="Picture 2" descr="C:\Users\DEJHPM0L\Desktop\Stack_2.0_Explosion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988"/>
          <a:stretch/>
        </p:blipFill>
        <p:spPr bwMode="auto">
          <a:xfrm>
            <a:off x="2857227" y="1539180"/>
            <a:ext cx="3320331" cy="4720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C:\Users\DEJHPM0L\Desktop\Stack_2.0_Explosion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8943"/>
          <a:stretch/>
        </p:blipFill>
        <p:spPr bwMode="auto">
          <a:xfrm>
            <a:off x="6673651" y="1539180"/>
            <a:ext cx="3317351" cy="4720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389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intergrundfolien</a:t>
            </a:r>
            <a:br>
              <a:rPr lang="de-DE"/>
            </a:br>
            <a:r>
              <a:rPr lang="de-DE">
                <a:solidFill>
                  <a:schemeClr val="accent2"/>
                </a:solidFill>
              </a:rPr>
              <a:t>Explosionsansicht Baugruppe Stack </a:t>
            </a:r>
            <a:r>
              <a:rPr lang="de-DE" smtClean="0">
                <a:solidFill>
                  <a:schemeClr val="accent2"/>
                </a:solidFill>
              </a:rPr>
              <a:t>2.0/OBS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7" name="Picture 3" descr="C:\Users\DEJHPM0L\Desktop\Stack_2.0_E-Bereich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667" y="1485578"/>
            <a:ext cx="3600897" cy="4604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uppieren 7"/>
          <p:cNvGrpSpPr/>
          <p:nvPr/>
        </p:nvGrpSpPr>
        <p:grpSpPr>
          <a:xfrm>
            <a:off x="2251856" y="1484865"/>
            <a:ext cx="3803029" cy="4605202"/>
            <a:chOff x="1669095" y="1449574"/>
            <a:chExt cx="3803029" cy="4605202"/>
          </a:xfrm>
        </p:grpSpPr>
        <p:pic>
          <p:nvPicPr>
            <p:cNvPr id="9" name="Picture 2" descr="C:\Users\DEJHPM0L\Desktop\Stack_2.0_Iso_vorne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9095" y="1449574"/>
              <a:ext cx="3803029" cy="4605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Gerade Verbindung mit Pfeil 9"/>
            <p:cNvCxnSpPr/>
            <p:nvPr/>
          </p:nvCxnSpPr>
          <p:spPr>
            <a:xfrm flipV="1">
              <a:off x="3189270" y="2565698"/>
              <a:ext cx="2188237" cy="129780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Textfeld 10"/>
            <p:cNvSpPr txBox="1"/>
            <p:nvPr/>
          </p:nvSpPr>
          <p:spPr>
            <a:xfrm rot="19758465">
              <a:off x="3981416" y="3186709"/>
              <a:ext cx="810090" cy="25391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50" b="0" i="0" u="none" baseline="0" dirty="0" smtClean="0">
                  <a:solidFill>
                    <a:schemeClr val="accent2"/>
                  </a:solidFill>
                  <a:latin typeface="Arial" panose="020B0604020202020204" pitchFamily="34" charset="0"/>
                </a:rPr>
                <a:t>305,2mm</a:t>
              </a:r>
            </a:p>
          </p:txBody>
        </p:sp>
      </p:grpSp>
      <p:cxnSp>
        <p:nvCxnSpPr>
          <p:cNvPr id="12" name="Gerade Verbindung mit Pfeil 11"/>
          <p:cNvCxnSpPr/>
          <p:nvPr/>
        </p:nvCxnSpPr>
        <p:spPr>
          <a:xfrm flipV="1">
            <a:off x="2893231" y="3255445"/>
            <a:ext cx="0" cy="252028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2137147" y="4605828"/>
            <a:ext cx="846094" cy="25391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5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296</a:t>
            </a:r>
            <a:r>
              <a:rPr lang="de-DE" sz="1050" b="0" i="0" u="none" baseline="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,85mm</a:t>
            </a:r>
          </a:p>
        </p:txBody>
      </p:sp>
      <p:cxnSp>
        <p:nvCxnSpPr>
          <p:cNvPr id="14" name="Gerade Verbindung mit Pfeil 13"/>
          <p:cNvCxnSpPr/>
          <p:nvPr/>
        </p:nvCxnSpPr>
        <p:spPr>
          <a:xfrm>
            <a:off x="4153371" y="1582319"/>
            <a:ext cx="1332148" cy="75608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4722779" y="1742449"/>
            <a:ext cx="846094" cy="25391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5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194</a:t>
            </a:r>
            <a:r>
              <a:rPr lang="de-DE" sz="1050" b="0" i="0" u="none" baseline="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,2mm</a:t>
            </a:r>
          </a:p>
        </p:txBody>
      </p:sp>
    </p:spTree>
    <p:extLst>
      <p:ext uri="{BB962C8B-B14F-4D97-AF65-F5344CB8AC3E}">
        <p14:creationId xmlns:p14="http://schemas.microsoft.com/office/powerpoint/2010/main" val="49886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5" t="17341" r="2497" b="27168"/>
          <a:stretch/>
        </p:blipFill>
        <p:spPr>
          <a:xfrm>
            <a:off x="-23092" y="0"/>
            <a:ext cx="12218267" cy="691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751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8" t="387" r="5795" b="-387"/>
          <a:stretch/>
        </p:blipFill>
        <p:spPr>
          <a:xfrm>
            <a:off x="326488" y="-1"/>
            <a:ext cx="4186923" cy="6877592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lieder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2000" dirty="0" smtClean="0"/>
              <a:t>Motivation und Aufgabenstellung</a:t>
            </a:r>
            <a:endParaRPr lang="de-DE" sz="18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 smtClean="0"/>
              <a:t>Stand der Technik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 smtClean="0"/>
              <a:t>Heizlösungen am Markt: Heizfoli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 smtClean="0"/>
              <a:t>Aufbau Jungheinrich Li-Ionen Batteri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 smtClean="0"/>
              <a:t>Lösungsansätz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 smtClean="0"/>
              <a:t>Mechanik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 smtClean="0"/>
              <a:t>Elektronik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DE" sz="1800" dirty="0" smtClean="0"/>
              <a:t>Algorithme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 smtClean="0"/>
              <a:t>Test &amp; Nachweis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 smtClean="0"/>
              <a:t>Ablaufplan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de-DE" sz="1800" dirty="0" smtClean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 anchor="t"/>
          <a:lstStyle/>
          <a:p>
            <a:r>
              <a:rPr lang="de-DE" sz="1800" dirty="0" smtClean="0"/>
              <a:t>Li-Ionen Batterien haben begrenztem Temperaturbereich</a:t>
            </a:r>
          </a:p>
          <a:p>
            <a:pPr marL="0" indent="0">
              <a:buNone/>
            </a:pPr>
            <a:endParaRPr lang="de-DE" sz="1000" dirty="0" smtClean="0"/>
          </a:p>
          <a:p>
            <a:pPr marL="0" indent="0">
              <a:buNone/>
            </a:pPr>
            <a:endParaRPr lang="de-DE" sz="1000" dirty="0" smtClean="0"/>
          </a:p>
          <a:p>
            <a:r>
              <a:rPr lang="de-DE" sz="1800" dirty="0" smtClean="0"/>
              <a:t>Aktuell bei Jungheinrich für ≥ 5°C ausgelegt</a:t>
            </a:r>
            <a:endParaRPr lang="de-DE" dirty="0"/>
          </a:p>
          <a:p>
            <a:endParaRPr lang="de-DE" sz="900" dirty="0" smtClean="0"/>
          </a:p>
          <a:p>
            <a:endParaRPr lang="de-DE" sz="900" dirty="0" smtClean="0"/>
          </a:p>
          <a:p>
            <a:r>
              <a:rPr lang="de-DE" sz="1800" dirty="0"/>
              <a:t>Li-Ionen </a:t>
            </a:r>
            <a:r>
              <a:rPr lang="de-DE" sz="1800" dirty="0" smtClean="0"/>
              <a:t>FFZ werden immer flexibler eingesetzt</a:t>
            </a:r>
          </a:p>
          <a:p>
            <a:pPr lvl="1"/>
            <a:r>
              <a:rPr lang="de-DE" sz="1600" dirty="0" smtClean="0"/>
              <a:t>Außeneinsatz</a:t>
            </a:r>
          </a:p>
          <a:p>
            <a:pPr lvl="1"/>
            <a:r>
              <a:rPr lang="de-DE" sz="1600" dirty="0" smtClean="0"/>
              <a:t>Kühlzoneneinsatz</a:t>
            </a:r>
            <a:endParaRPr lang="de-DE" dirty="0" smtClean="0"/>
          </a:p>
          <a:p>
            <a:pPr lvl="1"/>
            <a:r>
              <a:rPr lang="de-DE" sz="1600" dirty="0" smtClean="0"/>
              <a:t>Tiefkühlhauseinsatz</a:t>
            </a:r>
          </a:p>
          <a:p>
            <a:pPr lvl="1"/>
            <a:endParaRPr lang="de-DE" sz="1000" dirty="0" smtClean="0"/>
          </a:p>
          <a:p>
            <a:pPr lvl="1"/>
            <a:endParaRPr lang="de-DE" sz="1000" dirty="0" smtClean="0"/>
          </a:p>
          <a:p>
            <a:r>
              <a:rPr lang="de-DE" sz="1800" dirty="0" smtClean="0"/>
              <a:t>Heizsystem für Batterie notwendig</a:t>
            </a:r>
          </a:p>
          <a:p>
            <a:endParaRPr lang="de-DE" sz="1800" dirty="0" smtClean="0"/>
          </a:p>
          <a:p>
            <a:r>
              <a:rPr lang="de-DE" sz="1800" dirty="0" smtClean="0"/>
              <a:t>Energie für Heizsystem wird aus Batterie entnommen</a:t>
            </a:r>
            <a:endParaRPr lang="de-DE" dirty="0" smtClean="0"/>
          </a:p>
          <a:p>
            <a:pPr>
              <a:lnSpc>
                <a:spcPct val="150000"/>
              </a:lnSpc>
            </a:pPr>
            <a:endParaRPr lang="de-DE" dirty="0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sz="quarter" idx="14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74" t="25517" r="19062" b="27718"/>
          <a:stretch/>
        </p:blipFill>
        <p:spPr>
          <a:xfrm>
            <a:off x="8329836" y="1498075"/>
            <a:ext cx="3253614" cy="4905797"/>
          </a:xfrm>
        </p:spPr>
      </p:pic>
      <p:grpSp>
        <p:nvGrpSpPr>
          <p:cNvPr id="5" name="Takeaway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960250" y="5899699"/>
            <a:ext cx="7153864" cy="505399"/>
            <a:chOff x="546516" y="5517332"/>
            <a:chExt cx="8064499" cy="505282"/>
          </a:xfrm>
        </p:grpSpPr>
        <p:sp>
          <p:nvSpPr>
            <p:cNvPr id="7" name="Rechteck 2"/>
            <p:cNvSpPr/>
            <p:nvPr>
              <p:custDataLst>
                <p:tags r:id="rId2"/>
              </p:custDataLst>
            </p:nvPr>
          </p:nvSpPr>
          <p:spPr>
            <a:xfrm>
              <a:off x="546516" y="5518558"/>
              <a:ext cx="647874" cy="504056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b="1" dirty="0" smtClean="0"/>
                <a:t>///</a:t>
              </a:r>
            </a:p>
          </p:txBody>
        </p:sp>
        <p:sp>
          <p:nvSpPr>
            <p:cNvPr id="8" name="Rechteck 3"/>
            <p:cNvSpPr/>
            <p:nvPr>
              <p:custDataLst>
                <p:tags r:id="rId3"/>
              </p:custDataLst>
            </p:nvPr>
          </p:nvSpPr>
          <p:spPr>
            <a:xfrm>
              <a:off x="1202270" y="5517332"/>
              <a:ext cx="7408745" cy="504056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600" b="1" dirty="0" smtClean="0">
                  <a:solidFill>
                    <a:schemeClr val="dk1"/>
                  </a:solidFill>
                  <a:sym typeface="Wingdings" panose="05000000000000000000" pitchFamily="2" charset="2"/>
                </a:rPr>
                <a:t>Energiesparende Steuerung für max. Leistung der Batterie nötig</a:t>
              </a:r>
              <a:endParaRPr lang="de-DE" sz="1600" b="1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421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gabenstellung</a:t>
            </a:r>
            <a:endParaRPr lang="de-DE" dirty="0"/>
          </a:p>
        </p:txBody>
      </p:sp>
      <p:grpSp>
        <p:nvGrpSpPr>
          <p:cNvPr id="3" name="Target with arrows"/>
          <p:cNvGrpSpPr/>
          <p:nvPr>
            <p:custDataLst>
              <p:tags r:id="rId1"/>
            </p:custDataLst>
          </p:nvPr>
        </p:nvGrpSpPr>
        <p:grpSpPr>
          <a:xfrm>
            <a:off x="9914011" y="5374010"/>
            <a:ext cx="1700212" cy="881062"/>
            <a:chOff x="3921125" y="2547938"/>
            <a:chExt cx="3400426" cy="1762125"/>
          </a:xfrm>
        </p:grpSpPr>
        <p:sp>
          <p:nvSpPr>
            <p:cNvPr id="4" name="Freeform 1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4257675" y="2547938"/>
              <a:ext cx="1762125" cy="1762125"/>
            </a:xfrm>
            <a:custGeom>
              <a:avLst/>
              <a:gdLst>
                <a:gd name="T0" fmla="*/ 949 w 2220"/>
                <a:gd name="T1" fmla="*/ 276 h 2220"/>
                <a:gd name="T2" fmla="*/ 727 w 2220"/>
                <a:gd name="T3" fmla="*/ 353 h 2220"/>
                <a:gd name="T4" fmla="*/ 538 w 2220"/>
                <a:gd name="T5" fmla="*/ 484 h 2220"/>
                <a:gd name="T6" fmla="*/ 390 w 2220"/>
                <a:gd name="T7" fmla="*/ 660 h 2220"/>
                <a:gd name="T8" fmla="*/ 295 w 2220"/>
                <a:gd name="T9" fmla="*/ 872 h 2220"/>
                <a:gd name="T10" fmla="*/ 261 w 2220"/>
                <a:gd name="T11" fmla="*/ 1111 h 2220"/>
                <a:gd name="T12" fmla="*/ 295 w 2220"/>
                <a:gd name="T13" fmla="*/ 1348 h 2220"/>
                <a:gd name="T14" fmla="*/ 390 w 2220"/>
                <a:gd name="T15" fmla="*/ 1561 h 2220"/>
                <a:gd name="T16" fmla="*/ 538 w 2220"/>
                <a:gd name="T17" fmla="*/ 1737 h 2220"/>
                <a:gd name="T18" fmla="*/ 727 w 2220"/>
                <a:gd name="T19" fmla="*/ 1868 h 2220"/>
                <a:gd name="T20" fmla="*/ 949 w 2220"/>
                <a:gd name="T21" fmla="*/ 1944 h 2220"/>
                <a:gd name="T22" fmla="*/ 1192 w 2220"/>
                <a:gd name="T23" fmla="*/ 1955 h 2220"/>
                <a:gd name="T24" fmla="*/ 1423 w 2220"/>
                <a:gd name="T25" fmla="*/ 1900 h 2220"/>
                <a:gd name="T26" fmla="*/ 1624 w 2220"/>
                <a:gd name="T27" fmla="*/ 1787 h 2220"/>
                <a:gd name="T28" fmla="*/ 1787 w 2220"/>
                <a:gd name="T29" fmla="*/ 1623 h 2220"/>
                <a:gd name="T30" fmla="*/ 1901 w 2220"/>
                <a:gd name="T31" fmla="*/ 1422 h 2220"/>
                <a:gd name="T32" fmla="*/ 1957 w 2220"/>
                <a:gd name="T33" fmla="*/ 1192 h 2220"/>
                <a:gd name="T34" fmla="*/ 1945 w 2220"/>
                <a:gd name="T35" fmla="*/ 948 h 2220"/>
                <a:gd name="T36" fmla="*/ 1868 w 2220"/>
                <a:gd name="T37" fmla="*/ 727 h 2220"/>
                <a:gd name="T38" fmla="*/ 1737 w 2220"/>
                <a:gd name="T39" fmla="*/ 537 h 2220"/>
                <a:gd name="T40" fmla="*/ 1561 w 2220"/>
                <a:gd name="T41" fmla="*/ 391 h 2220"/>
                <a:gd name="T42" fmla="*/ 1349 w 2220"/>
                <a:gd name="T43" fmla="*/ 295 h 2220"/>
                <a:gd name="T44" fmla="*/ 1110 w 2220"/>
                <a:gd name="T45" fmla="*/ 261 h 2220"/>
                <a:gd name="T46" fmla="*/ 1300 w 2220"/>
                <a:gd name="T47" fmla="*/ 17 h 2220"/>
                <a:gd name="T48" fmla="*/ 1563 w 2220"/>
                <a:gd name="T49" fmla="*/ 97 h 2220"/>
                <a:gd name="T50" fmla="*/ 1794 w 2220"/>
                <a:gd name="T51" fmla="*/ 236 h 2220"/>
                <a:gd name="T52" fmla="*/ 1985 w 2220"/>
                <a:gd name="T53" fmla="*/ 426 h 2220"/>
                <a:gd name="T54" fmla="*/ 2124 w 2220"/>
                <a:gd name="T55" fmla="*/ 658 h 2220"/>
                <a:gd name="T56" fmla="*/ 2205 w 2220"/>
                <a:gd name="T57" fmla="*/ 921 h 2220"/>
                <a:gd name="T58" fmla="*/ 2216 w 2220"/>
                <a:gd name="T59" fmla="*/ 1205 h 2220"/>
                <a:gd name="T60" fmla="*/ 2158 w 2220"/>
                <a:gd name="T61" fmla="*/ 1478 h 2220"/>
                <a:gd name="T62" fmla="*/ 2037 w 2220"/>
                <a:gd name="T63" fmla="*/ 1722 h 2220"/>
                <a:gd name="T64" fmla="*/ 1863 w 2220"/>
                <a:gd name="T65" fmla="*/ 1925 h 2220"/>
                <a:gd name="T66" fmla="*/ 1645 w 2220"/>
                <a:gd name="T67" fmla="*/ 2082 h 2220"/>
                <a:gd name="T68" fmla="*/ 1391 w 2220"/>
                <a:gd name="T69" fmla="*/ 2184 h 2220"/>
                <a:gd name="T70" fmla="*/ 1110 w 2220"/>
                <a:gd name="T71" fmla="*/ 2220 h 2220"/>
                <a:gd name="T72" fmla="*/ 830 w 2220"/>
                <a:gd name="T73" fmla="*/ 2184 h 2220"/>
                <a:gd name="T74" fmla="*/ 577 w 2220"/>
                <a:gd name="T75" fmla="*/ 2082 h 2220"/>
                <a:gd name="T76" fmla="*/ 357 w 2220"/>
                <a:gd name="T77" fmla="*/ 1925 h 2220"/>
                <a:gd name="T78" fmla="*/ 183 w 2220"/>
                <a:gd name="T79" fmla="*/ 1722 h 2220"/>
                <a:gd name="T80" fmla="*/ 63 w 2220"/>
                <a:gd name="T81" fmla="*/ 1478 h 2220"/>
                <a:gd name="T82" fmla="*/ 4 w 2220"/>
                <a:gd name="T83" fmla="*/ 1205 h 2220"/>
                <a:gd name="T84" fmla="*/ 16 w 2220"/>
                <a:gd name="T85" fmla="*/ 921 h 2220"/>
                <a:gd name="T86" fmla="*/ 96 w 2220"/>
                <a:gd name="T87" fmla="*/ 658 h 2220"/>
                <a:gd name="T88" fmla="*/ 236 w 2220"/>
                <a:gd name="T89" fmla="*/ 426 h 2220"/>
                <a:gd name="T90" fmla="*/ 426 w 2220"/>
                <a:gd name="T91" fmla="*/ 236 h 2220"/>
                <a:gd name="T92" fmla="*/ 657 w 2220"/>
                <a:gd name="T93" fmla="*/ 97 h 2220"/>
                <a:gd name="T94" fmla="*/ 921 w 2220"/>
                <a:gd name="T95" fmla="*/ 17 h 2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20" h="2220">
                  <a:moveTo>
                    <a:pt x="1110" y="261"/>
                  </a:moveTo>
                  <a:lnTo>
                    <a:pt x="1028" y="265"/>
                  </a:lnTo>
                  <a:lnTo>
                    <a:pt x="949" y="276"/>
                  </a:lnTo>
                  <a:lnTo>
                    <a:pt x="873" y="295"/>
                  </a:lnTo>
                  <a:lnTo>
                    <a:pt x="797" y="320"/>
                  </a:lnTo>
                  <a:lnTo>
                    <a:pt x="727" y="353"/>
                  </a:lnTo>
                  <a:lnTo>
                    <a:pt x="660" y="391"/>
                  </a:lnTo>
                  <a:lnTo>
                    <a:pt x="596" y="435"/>
                  </a:lnTo>
                  <a:lnTo>
                    <a:pt x="538" y="484"/>
                  </a:lnTo>
                  <a:lnTo>
                    <a:pt x="483" y="537"/>
                  </a:lnTo>
                  <a:lnTo>
                    <a:pt x="434" y="597"/>
                  </a:lnTo>
                  <a:lnTo>
                    <a:pt x="390" y="660"/>
                  </a:lnTo>
                  <a:lnTo>
                    <a:pt x="352" y="727"/>
                  </a:lnTo>
                  <a:lnTo>
                    <a:pt x="320" y="798"/>
                  </a:lnTo>
                  <a:lnTo>
                    <a:pt x="295" y="872"/>
                  </a:lnTo>
                  <a:lnTo>
                    <a:pt x="275" y="948"/>
                  </a:lnTo>
                  <a:lnTo>
                    <a:pt x="265" y="1029"/>
                  </a:lnTo>
                  <a:lnTo>
                    <a:pt x="261" y="1111"/>
                  </a:lnTo>
                  <a:lnTo>
                    <a:pt x="265" y="1192"/>
                  </a:lnTo>
                  <a:lnTo>
                    <a:pt x="275" y="1272"/>
                  </a:lnTo>
                  <a:lnTo>
                    <a:pt x="295" y="1348"/>
                  </a:lnTo>
                  <a:lnTo>
                    <a:pt x="320" y="1422"/>
                  </a:lnTo>
                  <a:lnTo>
                    <a:pt x="352" y="1493"/>
                  </a:lnTo>
                  <a:lnTo>
                    <a:pt x="390" y="1561"/>
                  </a:lnTo>
                  <a:lnTo>
                    <a:pt x="434" y="1623"/>
                  </a:lnTo>
                  <a:lnTo>
                    <a:pt x="483" y="1683"/>
                  </a:lnTo>
                  <a:lnTo>
                    <a:pt x="538" y="1737"/>
                  </a:lnTo>
                  <a:lnTo>
                    <a:pt x="596" y="1787"/>
                  </a:lnTo>
                  <a:lnTo>
                    <a:pt x="660" y="1829"/>
                  </a:lnTo>
                  <a:lnTo>
                    <a:pt x="727" y="1868"/>
                  </a:lnTo>
                  <a:lnTo>
                    <a:pt x="797" y="1900"/>
                  </a:lnTo>
                  <a:lnTo>
                    <a:pt x="873" y="1925"/>
                  </a:lnTo>
                  <a:lnTo>
                    <a:pt x="949" y="1944"/>
                  </a:lnTo>
                  <a:lnTo>
                    <a:pt x="1028" y="1955"/>
                  </a:lnTo>
                  <a:lnTo>
                    <a:pt x="1110" y="1959"/>
                  </a:lnTo>
                  <a:lnTo>
                    <a:pt x="1192" y="1955"/>
                  </a:lnTo>
                  <a:lnTo>
                    <a:pt x="1271" y="1944"/>
                  </a:lnTo>
                  <a:lnTo>
                    <a:pt x="1349" y="1925"/>
                  </a:lnTo>
                  <a:lnTo>
                    <a:pt x="1423" y="1900"/>
                  </a:lnTo>
                  <a:lnTo>
                    <a:pt x="1493" y="1868"/>
                  </a:lnTo>
                  <a:lnTo>
                    <a:pt x="1561" y="1829"/>
                  </a:lnTo>
                  <a:lnTo>
                    <a:pt x="1624" y="1787"/>
                  </a:lnTo>
                  <a:lnTo>
                    <a:pt x="1683" y="1737"/>
                  </a:lnTo>
                  <a:lnTo>
                    <a:pt x="1737" y="1683"/>
                  </a:lnTo>
                  <a:lnTo>
                    <a:pt x="1787" y="1623"/>
                  </a:lnTo>
                  <a:lnTo>
                    <a:pt x="1831" y="1561"/>
                  </a:lnTo>
                  <a:lnTo>
                    <a:pt x="1868" y="1493"/>
                  </a:lnTo>
                  <a:lnTo>
                    <a:pt x="1901" y="1422"/>
                  </a:lnTo>
                  <a:lnTo>
                    <a:pt x="1925" y="1348"/>
                  </a:lnTo>
                  <a:lnTo>
                    <a:pt x="1945" y="1272"/>
                  </a:lnTo>
                  <a:lnTo>
                    <a:pt x="1957" y="1192"/>
                  </a:lnTo>
                  <a:lnTo>
                    <a:pt x="1960" y="1111"/>
                  </a:lnTo>
                  <a:lnTo>
                    <a:pt x="1957" y="1029"/>
                  </a:lnTo>
                  <a:lnTo>
                    <a:pt x="1945" y="948"/>
                  </a:lnTo>
                  <a:lnTo>
                    <a:pt x="1925" y="872"/>
                  </a:lnTo>
                  <a:lnTo>
                    <a:pt x="1901" y="798"/>
                  </a:lnTo>
                  <a:lnTo>
                    <a:pt x="1868" y="727"/>
                  </a:lnTo>
                  <a:lnTo>
                    <a:pt x="1831" y="660"/>
                  </a:lnTo>
                  <a:lnTo>
                    <a:pt x="1787" y="597"/>
                  </a:lnTo>
                  <a:lnTo>
                    <a:pt x="1737" y="537"/>
                  </a:lnTo>
                  <a:lnTo>
                    <a:pt x="1683" y="484"/>
                  </a:lnTo>
                  <a:lnTo>
                    <a:pt x="1624" y="435"/>
                  </a:lnTo>
                  <a:lnTo>
                    <a:pt x="1561" y="391"/>
                  </a:lnTo>
                  <a:lnTo>
                    <a:pt x="1493" y="353"/>
                  </a:lnTo>
                  <a:lnTo>
                    <a:pt x="1423" y="320"/>
                  </a:lnTo>
                  <a:lnTo>
                    <a:pt x="1349" y="295"/>
                  </a:lnTo>
                  <a:lnTo>
                    <a:pt x="1271" y="276"/>
                  </a:lnTo>
                  <a:lnTo>
                    <a:pt x="1192" y="265"/>
                  </a:lnTo>
                  <a:lnTo>
                    <a:pt x="1110" y="261"/>
                  </a:lnTo>
                  <a:close/>
                  <a:moveTo>
                    <a:pt x="1110" y="0"/>
                  </a:moveTo>
                  <a:lnTo>
                    <a:pt x="1206" y="5"/>
                  </a:lnTo>
                  <a:lnTo>
                    <a:pt x="1300" y="17"/>
                  </a:lnTo>
                  <a:lnTo>
                    <a:pt x="1391" y="36"/>
                  </a:lnTo>
                  <a:lnTo>
                    <a:pt x="1479" y="64"/>
                  </a:lnTo>
                  <a:lnTo>
                    <a:pt x="1563" y="97"/>
                  </a:lnTo>
                  <a:lnTo>
                    <a:pt x="1645" y="138"/>
                  </a:lnTo>
                  <a:lnTo>
                    <a:pt x="1722" y="184"/>
                  </a:lnTo>
                  <a:lnTo>
                    <a:pt x="1794" y="236"/>
                  </a:lnTo>
                  <a:lnTo>
                    <a:pt x="1863" y="295"/>
                  </a:lnTo>
                  <a:lnTo>
                    <a:pt x="1927" y="358"/>
                  </a:lnTo>
                  <a:lnTo>
                    <a:pt x="1985" y="426"/>
                  </a:lnTo>
                  <a:lnTo>
                    <a:pt x="2037" y="500"/>
                  </a:lnTo>
                  <a:lnTo>
                    <a:pt x="2084" y="576"/>
                  </a:lnTo>
                  <a:lnTo>
                    <a:pt x="2124" y="658"/>
                  </a:lnTo>
                  <a:lnTo>
                    <a:pt x="2158" y="742"/>
                  </a:lnTo>
                  <a:lnTo>
                    <a:pt x="2185" y="830"/>
                  </a:lnTo>
                  <a:lnTo>
                    <a:pt x="2205" y="921"/>
                  </a:lnTo>
                  <a:lnTo>
                    <a:pt x="2216" y="1015"/>
                  </a:lnTo>
                  <a:lnTo>
                    <a:pt x="2220" y="1111"/>
                  </a:lnTo>
                  <a:lnTo>
                    <a:pt x="2216" y="1205"/>
                  </a:lnTo>
                  <a:lnTo>
                    <a:pt x="2205" y="1299"/>
                  </a:lnTo>
                  <a:lnTo>
                    <a:pt x="2185" y="1390"/>
                  </a:lnTo>
                  <a:lnTo>
                    <a:pt x="2158" y="1478"/>
                  </a:lnTo>
                  <a:lnTo>
                    <a:pt x="2124" y="1563"/>
                  </a:lnTo>
                  <a:lnTo>
                    <a:pt x="2084" y="1644"/>
                  </a:lnTo>
                  <a:lnTo>
                    <a:pt x="2037" y="1722"/>
                  </a:lnTo>
                  <a:lnTo>
                    <a:pt x="1985" y="1794"/>
                  </a:lnTo>
                  <a:lnTo>
                    <a:pt x="1927" y="1862"/>
                  </a:lnTo>
                  <a:lnTo>
                    <a:pt x="1863" y="1925"/>
                  </a:lnTo>
                  <a:lnTo>
                    <a:pt x="1794" y="1984"/>
                  </a:lnTo>
                  <a:lnTo>
                    <a:pt x="1722" y="2037"/>
                  </a:lnTo>
                  <a:lnTo>
                    <a:pt x="1645" y="2082"/>
                  </a:lnTo>
                  <a:lnTo>
                    <a:pt x="1563" y="2124"/>
                  </a:lnTo>
                  <a:lnTo>
                    <a:pt x="1479" y="2158"/>
                  </a:lnTo>
                  <a:lnTo>
                    <a:pt x="1391" y="2184"/>
                  </a:lnTo>
                  <a:lnTo>
                    <a:pt x="1300" y="2203"/>
                  </a:lnTo>
                  <a:lnTo>
                    <a:pt x="1206" y="2216"/>
                  </a:lnTo>
                  <a:lnTo>
                    <a:pt x="1110" y="2220"/>
                  </a:lnTo>
                  <a:lnTo>
                    <a:pt x="1014" y="2216"/>
                  </a:lnTo>
                  <a:lnTo>
                    <a:pt x="921" y="2203"/>
                  </a:lnTo>
                  <a:lnTo>
                    <a:pt x="830" y="2184"/>
                  </a:lnTo>
                  <a:lnTo>
                    <a:pt x="741" y="2158"/>
                  </a:lnTo>
                  <a:lnTo>
                    <a:pt x="657" y="2124"/>
                  </a:lnTo>
                  <a:lnTo>
                    <a:pt x="577" y="2082"/>
                  </a:lnTo>
                  <a:lnTo>
                    <a:pt x="499" y="2037"/>
                  </a:lnTo>
                  <a:lnTo>
                    <a:pt x="426" y="1984"/>
                  </a:lnTo>
                  <a:lnTo>
                    <a:pt x="357" y="1925"/>
                  </a:lnTo>
                  <a:lnTo>
                    <a:pt x="294" y="1862"/>
                  </a:lnTo>
                  <a:lnTo>
                    <a:pt x="236" y="1794"/>
                  </a:lnTo>
                  <a:lnTo>
                    <a:pt x="183" y="1722"/>
                  </a:lnTo>
                  <a:lnTo>
                    <a:pt x="137" y="1644"/>
                  </a:lnTo>
                  <a:lnTo>
                    <a:pt x="96" y="1563"/>
                  </a:lnTo>
                  <a:lnTo>
                    <a:pt x="63" y="1478"/>
                  </a:lnTo>
                  <a:lnTo>
                    <a:pt x="35" y="1390"/>
                  </a:lnTo>
                  <a:lnTo>
                    <a:pt x="16" y="1299"/>
                  </a:lnTo>
                  <a:lnTo>
                    <a:pt x="4" y="1205"/>
                  </a:lnTo>
                  <a:lnTo>
                    <a:pt x="0" y="1111"/>
                  </a:lnTo>
                  <a:lnTo>
                    <a:pt x="4" y="1015"/>
                  </a:lnTo>
                  <a:lnTo>
                    <a:pt x="16" y="921"/>
                  </a:lnTo>
                  <a:lnTo>
                    <a:pt x="35" y="830"/>
                  </a:lnTo>
                  <a:lnTo>
                    <a:pt x="63" y="742"/>
                  </a:lnTo>
                  <a:lnTo>
                    <a:pt x="96" y="658"/>
                  </a:lnTo>
                  <a:lnTo>
                    <a:pt x="137" y="576"/>
                  </a:lnTo>
                  <a:lnTo>
                    <a:pt x="183" y="500"/>
                  </a:lnTo>
                  <a:lnTo>
                    <a:pt x="236" y="426"/>
                  </a:lnTo>
                  <a:lnTo>
                    <a:pt x="294" y="358"/>
                  </a:lnTo>
                  <a:lnTo>
                    <a:pt x="357" y="295"/>
                  </a:lnTo>
                  <a:lnTo>
                    <a:pt x="426" y="236"/>
                  </a:lnTo>
                  <a:lnTo>
                    <a:pt x="499" y="184"/>
                  </a:lnTo>
                  <a:lnTo>
                    <a:pt x="577" y="138"/>
                  </a:lnTo>
                  <a:lnTo>
                    <a:pt x="657" y="97"/>
                  </a:lnTo>
                  <a:lnTo>
                    <a:pt x="741" y="64"/>
                  </a:lnTo>
                  <a:lnTo>
                    <a:pt x="830" y="36"/>
                  </a:lnTo>
                  <a:lnTo>
                    <a:pt x="921" y="17"/>
                  </a:lnTo>
                  <a:lnTo>
                    <a:pt x="1014" y="5"/>
                  </a:lnTo>
                  <a:lnTo>
                    <a:pt x="1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1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714875" y="3006726"/>
              <a:ext cx="846138" cy="844550"/>
            </a:xfrm>
            <a:custGeom>
              <a:avLst/>
              <a:gdLst>
                <a:gd name="T0" fmla="*/ 532 w 1064"/>
                <a:gd name="T1" fmla="*/ 0 h 1066"/>
                <a:gd name="T2" fmla="*/ 594 w 1064"/>
                <a:gd name="T3" fmla="*/ 4 h 1066"/>
                <a:gd name="T4" fmla="*/ 654 w 1064"/>
                <a:gd name="T5" fmla="*/ 15 h 1066"/>
                <a:gd name="T6" fmla="*/ 711 w 1064"/>
                <a:gd name="T7" fmla="*/ 32 h 1066"/>
                <a:gd name="T8" fmla="*/ 766 w 1064"/>
                <a:gd name="T9" fmla="*/ 55 h 1066"/>
                <a:gd name="T10" fmla="*/ 818 w 1064"/>
                <a:gd name="T11" fmla="*/ 83 h 1066"/>
                <a:gd name="T12" fmla="*/ 864 w 1064"/>
                <a:gd name="T13" fmla="*/ 118 h 1066"/>
                <a:gd name="T14" fmla="*/ 909 w 1064"/>
                <a:gd name="T15" fmla="*/ 157 h 1066"/>
                <a:gd name="T16" fmla="*/ 948 w 1064"/>
                <a:gd name="T17" fmla="*/ 200 h 1066"/>
                <a:gd name="T18" fmla="*/ 981 w 1064"/>
                <a:gd name="T19" fmla="*/ 248 h 1066"/>
                <a:gd name="T20" fmla="*/ 1010 w 1064"/>
                <a:gd name="T21" fmla="*/ 299 h 1066"/>
                <a:gd name="T22" fmla="*/ 1033 w 1064"/>
                <a:gd name="T23" fmla="*/ 353 h 1066"/>
                <a:gd name="T24" fmla="*/ 1050 w 1064"/>
                <a:gd name="T25" fmla="*/ 412 h 1066"/>
                <a:gd name="T26" fmla="*/ 1061 w 1064"/>
                <a:gd name="T27" fmla="*/ 471 h 1066"/>
                <a:gd name="T28" fmla="*/ 1064 w 1064"/>
                <a:gd name="T29" fmla="*/ 534 h 1066"/>
                <a:gd name="T30" fmla="*/ 1061 w 1064"/>
                <a:gd name="T31" fmla="*/ 595 h 1066"/>
                <a:gd name="T32" fmla="*/ 1050 w 1064"/>
                <a:gd name="T33" fmla="*/ 656 h 1066"/>
                <a:gd name="T34" fmla="*/ 1033 w 1064"/>
                <a:gd name="T35" fmla="*/ 713 h 1066"/>
                <a:gd name="T36" fmla="*/ 1010 w 1064"/>
                <a:gd name="T37" fmla="*/ 767 h 1066"/>
                <a:gd name="T38" fmla="*/ 981 w 1064"/>
                <a:gd name="T39" fmla="*/ 818 h 1066"/>
                <a:gd name="T40" fmla="*/ 948 w 1064"/>
                <a:gd name="T41" fmla="*/ 866 h 1066"/>
                <a:gd name="T42" fmla="*/ 909 w 1064"/>
                <a:gd name="T43" fmla="*/ 909 h 1066"/>
                <a:gd name="T44" fmla="*/ 864 w 1064"/>
                <a:gd name="T45" fmla="*/ 949 h 1066"/>
                <a:gd name="T46" fmla="*/ 818 w 1064"/>
                <a:gd name="T47" fmla="*/ 983 h 1066"/>
                <a:gd name="T48" fmla="*/ 766 w 1064"/>
                <a:gd name="T49" fmla="*/ 1011 h 1066"/>
                <a:gd name="T50" fmla="*/ 711 w 1064"/>
                <a:gd name="T51" fmla="*/ 1034 h 1066"/>
                <a:gd name="T52" fmla="*/ 654 w 1064"/>
                <a:gd name="T53" fmla="*/ 1051 h 1066"/>
                <a:gd name="T54" fmla="*/ 594 w 1064"/>
                <a:gd name="T55" fmla="*/ 1062 h 1066"/>
                <a:gd name="T56" fmla="*/ 532 w 1064"/>
                <a:gd name="T57" fmla="*/ 1066 h 1066"/>
                <a:gd name="T58" fmla="*/ 470 w 1064"/>
                <a:gd name="T59" fmla="*/ 1062 h 1066"/>
                <a:gd name="T60" fmla="*/ 410 w 1064"/>
                <a:gd name="T61" fmla="*/ 1051 h 1066"/>
                <a:gd name="T62" fmla="*/ 353 w 1064"/>
                <a:gd name="T63" fmla="*/ 1034 h 1066"/>
                <a:gd name="T64" fmla="*/ 298 w 1064"/>
                <a:gd name="T65" fmla="*/ 1011 h 1066"/>
                <a:gd name="T66" fmla="*/ 247 w 1064"/>
                <a:gd name="T67" fmla="*/ 983 h 1066"/>
                <a:gd name="T68" fmla="*/ 200 w 1064"/>
                <a:gd name="T69" fmla="*/ 949 h 1066"/>
                <a:gd name="T70" fmla="*/ 156 w 1064"/>
                <a:gd name="T71" fmla="*/ 909 h 1066"/>
                <a:gd name="T72" fmla="*/ 117 w 1064"/>
                <a:gd name="T73" fmla="*/ 866 h 1066"/>
                <a:gd name="T74" fmla="*/ 83 w 1064"/>
                <a:gd name="T75" fmla="*/ 818 h 1066"/>
                <a:gd name="T76" fmla="*/ 54 w 1064"/>
                <a:gd name="T77" fmla="*/ 767 h 1066"/>
                <a:gd name="T78" fmla="*/ 31 w 1064"/>
                <a:gd name="T79" fmla="*/ 713 h 1066"/>
                <a:gd name="T80" fmla="*/ 14 w 1064"/>
                <a:gd name="T81" fmla="*/ 656 h 1066"/>
                <a:gd name="T82" fmla="*/ 4 w 1064"/>
                <a:gd name="T83" fmla="*/ 595 h 1066"/>
                <a:gd name="T84" fmla="*/ 0 w 1064"/>
                <a:gd name="T85" fmla="*/ 534 h 1066"/>
                <a:gd name="T86" fmla="*/ 4 w 1064"/>
                <a:gd name="T87" fmla="*/ 471 h 1066"/>
                <a:gd name="T88" fmla="*/ 14 w 1064"/>
                <a:gd name="T89" fmla="*/ 412 h 1066"/>
                <a:gd name="T90" fmla="*/ 31 w 1064"/>
                <a:gd name="T91" fmla="*/ 353 h 1066"/>
                <a:gd name="T92" fmla="*/ 54 w 1064"/>
                <a:gd name="T93" fmla="*/ 299 h 1066"/>
                <a:gd name="T94" fmla="*/ 83 w 1064"/>
                <a:gd name="T95" fmla="*/ 248 h 1066"/>
                <a:gd name="T96" fmla="*/ 117 w 1064"/>
                <a:gd name="T97" fmla="*/ 200 h 1066"/>
                <a:gd name="T98" fmla="*/ 156 w 1064"/>
                <a:gd name="T99" fmla="*/ 157 h 1066"/>
                <a:gd name="T100" fmla="*/ 200 w 1064"/>
                <a:gd name="T101" fmla="*/ 118 h 1066"/>
                <a:gd name="T102" fmla="*/ 247 w 1064"/>
                <a:gd name="T103" fmla="*/ 83 h 1066"/>
                <a:gd name="T104" fmla="*/ 298 w 1064"/>
                <a:gd name="T105" fmla="*/ 55 h 1066"/>
                <a:gd name="T106" fmla="*/ 353 w 1064"/>
                <a:gd name="T107" fmla="*/ 32 h 1066"/>
                <a:gd name="T108" fmla="*/ 410 w 1064"/>
                <a:gd name="T109" fmla="*/ 15 h 1066"/>
                <a:gd name="T110" fmla="*/ 470 w 1064"/>
                <a:gd name="T111" fmla="*/ 4 h 1066"/>
                <a:gd name="T112" fmla="*/ 532 w 1064"/>
                <a:gd name="T113" fmla="*/ 0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64" h="1066">
                  <a:moveTo>
                    <a:pt x="532" y="0"/>
                  </a:moveTo>
                  <a:lnTo>
                    <a:pt x="594" y="4"/>
                  </a:lnTo>
                  <a:lnTo>
                    <a:pt x="654" y="15"/>
                  </a:lnTo>
                  <a:lnTo>
                    <a:pt x="711" y="32"/>
                  </a:lnTo>
                  <a:lnTo>
                    <a:pt x="766" y="55"/>
                  </a:lnTo>
                  <a:lnTo>
                    <a:pt x="818" y="83"/>
                  </a:lnTo>
                  <a:lnTo>
                    <a:pt x="864" y="118"/>
                  </a:lnTo>
                  <a:lnTo>
                    <a:pt x="909" y="157"/>
                  </a:lnTo>
                  <a:lnTo>
                    <a:pt x="948" y="200"/>
                  </a:lnTo>
                  <a:lnTo>
                    <a:pt x="981" y="248"/>
                  </a:lnTo>
                  <a:lnTo>
                    <a:pt x="1010" y="299"/>
                  </a:lnTo>
                  <a:lnTo>
                    <a:pt x="1033" y="353"/>
                  </a:lnTo>
                  <a:lnTo>
                    <a:pt x="1050" y="412"/>
                  </a:lnTo>
                  <a:lnTo>
                    <a:pt x="1061" y="471"/>
                  </a:lnTo>
                  <a:lnTo>
                    <a:pt x="1064" y="534"/>
                  </a:lnTo>
                  <a:lnTo>
                    <a:pt x="1061" y="595"/>
                  </a:lnTo>
                  <a:lnTo>
                    <a:pt x="1050" y="656"/>
                  </a:lnTo>
                  <a:lnTo>
                    <a:pt x="1033" y="713"/>
                  </a:lnTo>
                  <a:lnTo>
                    <a:pt x="1010" y="767"/>
                  </a:lnTo>
                  <a:lnTo>
                    <a:pt x="981" y="818"/>
                  </a:lnTo>
                  <a:lnTo>
                    <a:pt x="948" y="866"/>
                  </a:lnTo>
                  <a:lnTo>
                    <a:pt x="909" y="909"/>
                  </a:lnTo>
                  <a:lnTo>
                    <a:pt x="864" y="949"/>
                  </a:lnTo>
                  <a:lnTo>
                    <a:pt x="818" y="983"/>
                  </a:lnTo>
                  <a:lnTo>
                    <a:pt x="766" y="1011"/>
                  </a:lnTo>
                  <a:lnTo>
                    <a:pt x="711" y="1034"/>
                  </a:lnTo>
                  <a:lnTo>
                    <a:pt x="654" y="1051"/>
                  </a:lnTo>
                  <a:lnTo>
                    <a:pt x="594" y="1062"/>
                  </a:lnTo>
                  <a:lnTo>
                    <a:pt x="532" y="1066"/>
                  </a:lnTo>
                  <a:lnTo>
                    <a:pt x="470" y="1062"/>
                  </a:lnTo>
                  <a:lnTo>
                    <a:pt x="410" y="1051"/>
                  </a:lnTo>
                  <a:lnTo>
                    <a:pt x="353" y="1034"/>
                  </a:lnTo>
                  <a:lnTo>
                    <a:pt x="298" y="1011"/>
                  </a:lnTo>
                  <a:lnTo>
                    <a:pt x="247" y="983"/>
                  </a:lnTo>
                  <a:lnTo>
                    <a:pt x="200" y="949"/>
                  </a:lnTo>
                  <a:lnTo>
                    <a:pt x="156" y="909"/>
                  </a:lnTo>
                  <a:lnTo>
                    <a:pt x="117" y="866"/>
                  </a:lnTo>
                  <a:lnTo>
                    <a:pt x="83" y="818"/>
                  </a:lnTo>
                  <a:lnTo>
                    <a:pt x="54" y="767"/>
                  </a:lnTo>
                  <a:lnTo>
                    <a:pt x="31" y="713"/>
                  </a:lnTo>
                  <a:lnTo>
                    <a:pt x="14" y="656"/>
                  </a:lnTo>
                  <a:lnTo>
                    <a:pt x="4" y="595"/>
                  </a:lnTo>
                  <a:lnTo>
                    <a:pt x="0" y="534"/>
                  </a:lnTo>
                  <a:lnTo>
                    <a:pt x="4" y="471"/>
                  </a:lnTo>
                  <a:lnTo>
                    <a:pt x="14" y="412"/>
                  </a:lnTo>
                  <a:lnTo>
                    <a:pt x="31" y="353"/>
                  </a:lnTo>
                  <a:lnTo>
                    <a:pt x="54" y="299"/>
                  </a:lnTo>
                  <a:lnTo>
                    <a:pt x="83" y="248"/>
                  </a:lnTo>
                  <a:lnTo>
                    <a:pt x="117" y="200"/>
                  </a:lnTo>
                  <a:lnTo>
                    <a:pt x="156" y="157"/>
                  </a:lnTo>
                  <a:lnTo>
                    <a:pt x="200" y="118"/>
                  </a:lnTo>
                  <a:lnTo>
                    <a:pt x="247" y="83"/>
                  </a:lnTo>
                  <a:lnTo>
                    <a:pt x="298" y="55"/>
                  </a:lnTo>
                  <a:lnTo>
                    <a:pt x="353" y="32"/>
                  </a:lnTo>
                  <a:lnTo>
                    <a:pt x="410" y="15"/>
                  </a:lnTo>
                  <a:lnTo>
                    <a:pt x="470" y="4"/>
                  </a:lnTo>
                  <a:lnTo>
                    <a:pt x="53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1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926013" y="3216276"/>
              <a:ext cx="423863" cy="425450"/>
            </a:xfrm>
            <a:custGeom>
              <a:avLst/>
              <a:gdLst>
                <a:gd name="T0" fmla="*/ 267 w 535"/>
                <a:gd name="T1" fmla="*/ 0 h 536"/>
                <a:gd name="T2" fmla="*/ 311 w 535"/>
                <a:gd name="T3" fmla="*/ 4 h 536"/>
                <a:gd name="T4" fmla="*/ 352 w 535"/>
                <a:gd name="T5" fmla="*/ 14 h 536"/>
                <a:gd name="T6" fmla="*/ 390 w 535"/>
                <a:gd name="T7" fmla="*/ 30 h 536"/>
                <a:gd name="T8" fmla="*/ 426 w 535"/>
                <a:gd name="T9" fmla="*/ 52 h 536"/>
                <a:gd name="T10" fmla="*/ 457 w 535"/>
                <a:gd name="T11" fmla="*/ 79 h 536"/>
                <a:gd name="T12" fmla="*/ 484 w 535"/>
                <a:gd name="T13" fmla="*/ 110 h 536"/>
                <a:gd name="T14" fmla="*/ 505 w 535"/>
                <a:gd name="T15" fmla="*/ 145 h 536"/>
                <a:gd name="T16" fmla="*/ 522 w 535"/>
                <a:gd name="T17" fmla="*/ 183 h 536"/>
                <a:gd name="T18" fmla="*/ 532 w 535"/>
                <a:gd name="T19" fmla="*/ 225 h 536"/>
                <a:gd name="T20" fmla="*/ 535 w 535"/>
                <a:gd name="T21" fmla="*/ 269 h 536"/>
                <a:gd name="T22" fmla="*/ 532 w 535"/>
                <a:gd name="T23" fmla="*/ 311 h 536"/>
                <a:gd name="T24" fmla="*/ 522 w 535"/>
                <a:gd name="T25" fmla="*/ 353 h 536"/>
                <a:gd name="T26" fmla="*/ 505 w 535"/>
                <a:gd name="T27" fmla="*/ 391 h 536"/>
                <a:gd name="T28" fmla="*/ 484 w 535"/>
                <a:gd name="T29" fmla="*/ 426 h 536"/>
                <a:gd name="T30" fmla="*/ 457 w 535"/>
                <a:gd name="T31" fmla="*/ 457 h 536"/>
                <a:gd name="T32" fmla="*/ 426 w 535"/>
                <a:gd name="T33" fmla="*/ 484 h 536"/>
                <a:gd name="T34" fmla="*/ 390 w 535"/>
                <a:gd name="T35" fmla="*/ 506 h 536"/>
                <a:gd name="T36" fmla="*/ 352 w 535"/>
                <a:gd name="T37" fmla="*/ 522 h 536"/>
                <a:gd name="T38" fmla="*/ 311 w 535"/>
                <a:gd name="T39" fmla="*/ 532 h 536"/>
                <a:gd name="T40" fmla="*/ 267 w 535"/>
                <a:gd name="T41" fmla="*/ 536 h 536"/>
                <a:gd name="T42" fmla="*/ 224 w 535"/>
                <a:gd name="T43" fmla="*/ 532 h 536"/>
                <a:gd name="T44" fmla="*/ 183 w 535"/>
                <a:gd name="T45" fmla="*/ 522 h 536"/>
                <a:gd name="T46" fmla="*/ 144 w 535"/>
                <a:gd name="T47" fmla="*/ 506 h 536"/>
                <a:gd name="T48" fmla="*/ 109 w 535"/>
                <a:gd name="T49" fmla="*/ 484 h 536"/>
                <a:gd name="T50" fmla="*/ 78 w 535"/>
                <a:gd name="T51" fmla="*/ 457 h 536"/>
                <a:gd name="T52" fmla="*/ 52 w 535"/>
                <a:gd name="T53" fmla="*/ 426 h 536"/>
                <a:gd name="T54" fmla="*/ 30 w 535"/>
                <a:gd name="T55" fmla="*/ 391 h 536"/>
                <a:gd name="T56" fmla="*/ 13 w 535"/>
                <a:gd name="T57" fmla="*/ 353 h 536"/>
                <a:gd name="T58" fmla="*/ 4 w 535"/>
                <a:gd name="T59" fmla="*/ 311 h 536"/>
                <a:gd name="T60" fmla="*/ 0 w 535"/>
                <a:gd name="T61" fmla="*/ 269 h 536"/>
                <a:gd name="T62" fmla="*/ 4 w 535"/>
                <a:gd name="T63" fmla="*/ 225 h 536"/>
                <a:gd name="T64" fmla="*/ 13 w 535"/>
                <a:gd name="T65" fmla="*/ 183 h 536"/>
                <a:gd name="T66" fmla="*/ 30 w 535"/>
                <a:gd name="T67" fmla="*/ 145 h 536"/>
                <a:gd name="T68" fmla="*/ 52 w 535"/>
                <a:gd name="T69" fmla="*/ 110 h 536"/>
                <a:gd name="T70" fmla="*/ 78 w 535"/>
                <a:gd name="T71" fmla="*/ 79 h 536"/>
                <a:gd name="T72" fmla="*/ 109 w 535"/>
                <a:gd name="T73" fmla="*/ 52 h 536"/>
                <a:gd name="T74" fmla="*/ 144 w 535"/>
                <a:gd name="T75" fmla="*/ 30 h 536"/>
                <a:gd name="T76" fmla="*/ 183 w 535"/>
                <a:gd name="T77" fmla="*/ 14 h 536"/>
                <a:gd name="T78" fmla="*/ 224 w 535"/>
                <a:gd name="T79" fmla="*/ 4 h 536"/>
                <a:gd name="T80" fmla="*/ 267 w 535"/>
                <a:gd name="T81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536">
                  <a:moveTo>
                    <a:pt x="267" y="0"/>
                  </a:moveTo>
                  <a:lnTo>
                    <a:pt x="311" y="4"/>
                  </a:lnTo>
                  <a:lnTo>
                    <a:pt x="352" y="14"/>
                  </a:lnTo>
                  <a:lnTo>
                    <a:pt x="390" y="30"/>
                  </a:lnTo>
                  <a:lnTo>
                    <a:pt x="426" y="52"/>
                  </a:lnTo>
                  <a:lnTo>
                    <a:pt x="457" y="79"/>
                  </a:lnTo>
                  <a:lnTo>
                    <a:pt x="484" y="110"/>
                  </a:lnTo>
                  <a:lnTo>
                    <a:pt x="505" y="145"/>
                  </a:lnTo>
                  <a:lnTo>
                    <a:pt x="522" y="183"/>
                  </a:lnTo>
                  <a:lnTo>
                    <a:pt x="532" y="225"/>
                  </a:lnTo>
                  <a:lnTo>
                    <a:pt x="535" y="269"/>
                  </a:lnTo>
                  <a:lnTo>
                    <a:pt x="532" y="311"/>
                  </a:lnTo>
                  <a:lnTo>
                    <a:pt x="522" y="353"/>
                  </a:lnTo>
                  <a:lnTo>
                    <a:pt x="505" y="391"/>
                  </a:lnTo>
                  <a:lnTo>
                    <a:pt x="484" y="426"/>
                  </a:lnTo>
                  <a:lnTo>
                    <a:pt x="457" y="457"/>
                  </a:lnTo>
                  <a:lnTo>
                    <a:pt x="426" y="484"/>
                  </a:lnTo>
                  <a:lnTo>
                    <a:pt x="390" y="506"/>
                  </a:lnTo>
                  <a:lnTo>
                    <a:pt x="352" y="522"/>
                  </a:lnTo>
                  <a:lnTo>
                    <a:pt x="311" y="532"/>
                  </a:lnTo>
                  <a:lnTo>
                    <a:pt x="267" y="536"/>
                  </a:lnTo>
                  <a:lnTo>
                    <a:pt x="224" y="532"/>
                  </a:lnTo>
                  <a:lnTo>
                    <a:pt x="183" y="522"/>
                  </a:lnTo>
                  <a:lnTo>
                    <a:pt x="144" y="506"/>
                  </a:lnTo>
                  <a:lnTo>
                    <a:pt x="109" y="484"/>
                  </a:lnTo>
                  <a:lnTo>
                    <a:pt x="78" y="457"/>
                  </a:lnTo>
                  <a:lnTo>
                    <a:pt x="52" y="426"/>
                  </a:lnTo>
                  <a:lnTo>
                    <a:pt x="30" y="391"/>
                  </a:lnTo>
                  <a:lnTo>
                    <a:pt x="13" y="353"/>
                  </a:lnTo>
                  <a:lnTo>
                    <a:pt x="4" y="311"/>
                  </a:lnTo>
                  <a:lnTo>
                    <a:pt x="0" y="269"/>
                  </a:lnTo>
                  <a:lnTo>
                    <a:pt x="4" y="225"/>
                  </a:lnTo>
                  <a:lnTo>
                    <a:pt x="13" y="183"/>
                  </a:lnTo>
                  <a:lnTo>
                    <a:pt x="30" y="145"/>
                  </a:lnTo>
                  <a:lnTo>
                    <a:pt x="52" y="110"/>
                  </a:lnTo>
                  <a:lnTo>
                    <a:pt x="78" y="79"/>
                  </a:lnTo>
                  <a:lnTo>
                    <a:pt x="109" y="52"/>
                  </a:lnTo>
                  <a:lnTo>
                    <a:pt x="144" y="30"/>
                  </a:lnTo>
                  <a:lnTo>
                    <a:pt x="183" y="14"/>
                  </a:lnTo>
                  <a:lnTo>
                    <a:pt x="224" y="4"/>
                  </a:lnTo>
                  <a:lnTo>
                    <a:pt x="26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1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210300" y="3622676"/>
              <a:ext cx="736600" cy="227013"/>
            </a:xfrm>
            <a:custGeom>
              <a:avLst/>
              <a:gdLst>
                <a:gd name="T0" fmla="*/ 51 w 926"/>
                <a:gd name="T1" fmla="*/ 1 h 285"/>
                <a:gd name="T2" fmla="*/ 124 w 926"/>
                <a:gd name="T3" fmla="*/ 98 h 285"/>
                <a:gd name="T4" fmla="*/ 162 w 926"/>
                <a:gd name="T5" fmla="*/ 49 h 285"/>
                <a:gd name="T6" fmla="*/ 161 w 926"/>
                <a:gd name="T7" fmla="*/ 32 h 285"/>
                <a:gd name="T8" fmla="*/ 175 w 926"/>
                <a:gd name="T9" fmla="*/ 22 h 285"/>
                <a:gd name="T10" fmla="*/ 189 w 926"/>
                <a:gd name="T11" fmla="*/ 29 h 285"/>
                <a:gd name="T12" fmla="*/ 350 w 926"/>
                <a:gd name="T13" fmla="*/ 137 h 285"/>
                <a:gd name="T14" fmla="*/ 301 w 926"/>
                <a:gd name="T15" fmla="*/ 64 h 285"/>
                <a:gd name="T16" fmla="*/ 309 w 926"/>
                <a:gd name="T17" fmla="*/ 49 h 285"/>
                <a:gd name="T18" fmla="*/ 325 w 926"/>
                <a:gd name="T19" fmla="*/ 48 h 285"/>
                <a:gd name="T20" fmla="*/ 398 w 926"/>
                <a:gd name="T21" fmla="*/ 146 h 285"/>
                <a:gd name="T22" fmla="*/ 856 w 926"/>
                <a:gd name="T23" fmla="*/ 210 h 285"/>
                <a:gd name="T24" fmla="*/ 860 w 926"/>
                <a:gd name="T25" fmla="*/ 202 h 285"/>
                <a:gd name="T26" fmla="*/ 865 w 926"/>
                <a:gd name="T27" fmla="*/ 201 h 285"/>
                <a:gd name="T28" fmla="*/ 873 w 926"/>
                <a:gd name="T29" fmla="*/ 203 h 285"/>
                <a:gd name="T30" fmla="*/ 925 w 926"/>
                <a:gd name="T31" fmla="*/ 247 h 285"/>
                <a:gd name="T32" fmla="*/ 926 w 926"/>
                <a:gd name="T33" fmla="*/ 254 h 285"/>
                <a:gd name="T34" fmla="*/ 923 w 926"/>
                <a:gd name="T35" fmla="*/ 259 h 285"/>
                <a:gd name="T36" fmla="*/ 859 w 926"/>
                <a:gd name="T37" fmla="*/ 284 h 285"/>
                <a:gd name="T38" fmla="*/ 851 w 926"/>
                <a:gd name="T39" fmla="*/ 285 h 285"/>
                <a:gd name="T40" fmla="*/ 846 w 926"/>
                <a:gd name="T41" fmla="*/ 280 h 285"/>
                <a:gd name="T42" fmla="*/ 846 w 926"/>
                <a:gd name="T43" fmla="*/ 272 h 285"/>
                <a:gd name="T44" fmla="*/ 392 w 926"/>
                <a:gd name="T45" fmla="*/ 179 h 285"/>
                <a:gd name="T46" fmla="*/ 294 w 926"/>
                <a:gd name="T47" fmla="*/ 246 h 285"/>
                <a:gd name="T48" fmla="*/ 285 w 926"/>
                <a:gd name="T49" fmla="*/ 246 h 285"/>
                <a:gd name="T50" fmla="*/ 279 w 926"/>
                <a:gd name="T51" fmla="*/ 242 h 285"/>
                <a:gd name="T52" fmla="*/ 272 w 926"/>
                <a:gd name="T53" fmla="*/ 232 h 285"/>
                <a:gd name="T54" fmla="*/ 280 w 926"/>
                <a:gd name="T55" fmla="*/ 216 h 285"/>
                <a:gd name="T56" fmla="*/ 249 w 926"/>
                <a:gd name="T57" fmla="*/ 155 h 285"/>
                <a:gd name="T58" fmla="*/ 153 w 926"/>
                <a:gd name="T59" fmla="*/ 221 h 285"/>
                <a:gd name="T60" fmla="*/ 144 w 926"/>
                <a:gd name="T61" fmla="*/ 223 h 285"/>
                <a:gd name="T62" fmla="*/ 136 w 926"/>
                <a:gd name="T63" fmla="*/ 219 h 285"/>
                <a:gd name="T64" fmla="*/ 131 w 926"/>
                <a:gd name="T65" fmla="*/ 207 h 285"/>
                <a:gd name="T66" fmla="*/ 137 w 926"/>
                <a:gd name="T67" fmla="*/ 192 h 285"/>
                <a:gd name="T68" fmla="*/ 118 w 926"/>
                <a:gd name="T69" fmla="*/ 132 h 285"/>
                <a:gd name="T70" fmla="*/ 22 w 926"/>
                <a:gd name="T71" fmla="*/ 199 h 285"/>
                <a:gd name="T72" fmla="*/ 13 w 926"/>
                <a:gd name="T73" fmla="*/ 199 h 285"/>
                <a:gd name="T74" fmla="*/ 5 w 926"/>
                <a:gd name="T75" fmla="*/ 197 h 285"/>
                <a:gd name="T76" fmla="*/ 0 w 926"/>
                <a:gd name="T77" fmla="*/ 185 h 285"/>
                <a:gd name="T78" fmla="*/ 6 w 926"/>
                <a:gd name="T79" fmla="*/ 170 h 285"/>
                <a:gd name="T80" fmla="*/ 31 w 926"/>
                <a:gd name="T81" fmla="*/ 27 h 285"/>
                <a:gd name="T82" fmla="*/ 29 w 926"/>
                <a:gd name="T83" fmla="*/ 10 h 285"/>
                <a:gd name="T84" fmla="*/ 44 w 926"/>
                <a:gd name="T85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6" h="285">
                  <a:moveTo>
                    <a:pt x="44" y="0"/>
                  </a:moveTo>
                  <a:lnTo>
                    <a:pt x="51" y="1"/>
                  </a:lnTo>
                  <a:lnTo>
                    <a:pt x="58" y="7"/>
                  </a:lnTo>
                  <a:lnTo>
                    <a:pt x="124" y="98"/>
                  </a:lnTo>
                  <a:lnTo>
                    <a:pt x="207" y="114"/>
                  </a:lnTo>
                  <a:lnTo>
                    <a:pt x="162" y="49"/>
                  </a:lnTo>
                  <a:lnTo>
                    <a:pt x="159" y="41"/>
                  </a:lnTo>
                  <a:lnTo>
                    <a:pt x="161" y="32"/>
                  </a:lnTo>
                  <a:lnTo>
                    <a:pt x="166" y="26"/>
                  </a:lnTo>
                  <a:lnTo>
                    <a:pt x="175" y="22"/>
                  </a:lnTo>
                  <a:lnTo>
                    <a:pt x="183" y="23"/>
                  </a:lnTo>
                  <a:lnTo>
                    <a:pt x="189" y="29"/>
                  </a:lnTo>
                  <a:lnTo>
                    <a:pt x="255" y="122"/>
                  </a:lnTo>
                  <a:lnTo>
                    <a:pt x="350" y="137"/>
                  </a:lnTo>
                  <a:lnTo>
                    <a:pt x="305" y="74"/>
                  </a:lnTo>
                  <a:lnTo>
                    <a:pt x="301" y="64"/>
                  </a:lnTo>
                  <a:lnTo>
                    <a:pt x="302" y="57"/>
                  </a:lnTo>
                  <a:lnTo>
                    <a:pt x="309" y="49"/>
                  </a:lnTo>
                  <a:lnTo>
                    <a:pt x="316" y="46"/>
                  </a:lnTo>
                  <a:lnTo>
                    <a:pt x="325" y="48"/>
                  </a:lnTo>
                  <a:lnTo>
                    <a:pt x="332" y="53"/>
                  </a:lnTo>
                  <a:lnTo>
                    <a:pt x="398" y="146"/>
                  </a:lnTo>
                  <a:lnTo>
                    <a:pt x="854" y="224"/>
                  </a:lnTo>
                  <a:lnTo>
                    <a:pt x="856" y="210"/>
                  </a:lnTo>
                  <a:lnTo>
                    <a:pt x="858" y="206"/>
                  </a:lnTo>
                  <a:lnTo>
                    <a:pt x="860" y="202"/>
                  </a:lnTo>
                  <a:lnTo>
                    <a:pt x="863" y="201"/>
                  </a:lnTo>
                  <a:lnTo>
                    <a:pt x="865" y="201"/>
                  </a:lnTo>
                  <a:lnTo>
                    <a:pt x="869" y="201"/>
                  </a:lnTo>
                  <a:lnTo>
                    <a:pt x="873" y="203"/>
                  </a:lnTo>
                  <a:lnTo>
                    <a:pt x="921" y="244"/>
                  </a:lnTo>
                  <a:lnTo>
                    <a:pt x="925" y="247"/>
                  </a:lnTo>
                  <a:lnTo>
                    <a:pt x="926" y="251"/>
                  </a:lnTo>
                  <a:lnTo>
                    <a:pt x="926" y="254"/>
                  </a:lnTo>
                  <a:lnTo>
                    <a:pt x="925" y="256"/>
                  </a:lnTo>
                  <a:lnTo>
                    <a:pt x="923" y="259"/>
                  </a:lnTo>
                  <a:lnTo>
                    <a:pt x="919" y="262"/>
                  </a:lnTo>
                  <a:lnTo>
                    <a:pt x="859" y="284"/>
                  </a:lnTo>
                  <a:lnTo>
                    <a:pt x="855" y="285"/>
                  </a:lnTo>
                  <a:lnTo>
                    <a:pt x="851" y="285"/>
                  </a:lnTo>
                  <a:lnTo>
                    <a:pt x="849" y="282"/>
                  </a:lnTo>
                  <a:lnTo>
                    <a:pt x="846" y="280"/>
                  </a:lnTo>
                  <a:lnTo>
                    <a:pt x="846" y="277"/>
                  </a:lnTo>
                  <a:lnTo>
                    <a:pt x="846" y="272"/>
                  </a:lnTo>
                  <a:lnTo>
                    <a:pt x="849" y="258"/>
                  </a:lnTo>
                  <a:lnTo>
                    <a:pt x="392" y="179"/>
                  </a:lnTo>
                  <a:lnTo>
                    <a:pt x="299" y="244"/>
                  </a:lnTo>
                  <a:lnTo>
                    <a:pt x="294" y="246"/>
                  </a:lnTo>
                  <a:lnTo>
                    <a:pt x="289" y="247"/>
                  </a:lnTo>
                  <a:lnTo>
                    <a:pt x="285" y="246"/>
                  </a:lnTo>
                  <a:lnTo>
                    <a:pt x="281" y="245"/>
                  </a:lnTo>
                  <a:lnTo>
                    <a:pt x="279" y="242"/>
                  </a:lnTo>
                  <a:lnTo>
                    <a:pt x="276" y="240"/>
                  </a:lnTo>
                  <a:lnTo>
                    <a:pt x="272" y="232"/>
                  </a:lnTo>
                  <a:lnTo>
                    <a:pt x="273" y="223"/>
                  </a:lnTo>
                  <a:lnTo>
                    <a:pt x="280" y="216"/>
                  </a:lnTo>
                  <a:lnTo>
                    <a:pt x="344" y="171"/>
                  </a:lnTo>
                  <a:lnTo>
                    <a:pt x="249" y="155"/>
                  </a:lnTo>
                  <a:lnTo>
                    <a:pt x="157" y="219"/>
                  </a:lnTo>
                  <a:lnTo>
                    <a:pt x="153" y="221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0"/>
                  </a:lnTo>
                  <a:lnTo>
                    <a:pt x="136" y="219"/>
                  </a:lnTo>
                  <a:lnTo>
                    <a:pt x="133" y="215"/>
                  </a:lnTo>
                  <a:lnTo>
                    <a:pt x="131" y="207"/>
                  </a:lnTo>
                  <a:lnTo>
                    <a:pt x="132" y="198"/>
                  </a:lnTo>
                  <a:lnTo>
                    <a:pt x="137" y="192"/>
                  </a:lnTo>
                  <a:lnTo>
                    <a:pt x="202" y="146"/>
                  </a:lnTo>
                  <a:lnTo>
                    <a:pt x="118" y="132"/>
                  </a:lnTo>
                  <a:lnTo>
                    <a:pt x="26" y="197"/>
                  </a:lnTo>
                  <a:lnTo>
                    <a:pt x="22" y="199"/>
                  </a:lnTo>
                  <a:lnTo>
                    <a:pt x="16" y="201"/>
                  </a:lnTo>
                  <a:lnTo>
                    <a:pt x="13" y="199"/>
                  </a:lnTo>
                  <a:lnTo>
                    <a:pt x="9" y="198"/>
                  </a:lnTo>
                  <a:lnTo>
                    <a:pt x="5" y="197"/>
                  </a:lnTo>
                  <a:lnTo>
                    <a:pt x="2" y="193"/>
                  </a:lnTo>
                  <a:lnTo>
                    <a:pt x="0" y="185"/>
                  </a:lnTo>
                  <a:lnTo>
                    <a:pt x="1" y="176"/>
                  </a:lnTo>
                  <a:lnTo>
                    <a:pt x="6" y="170"/>
                  </a:lnTo>
                  <a:lnTo>
                    <a:pt x="90" y="110"/>
                  </a:lnTo>
                  <a:lnTo>
                    <a:pt x="31" y="27"/>
                  </a:lnTo>
                  <a:lnTo>
                    <a:pt x="28" y="18"/>
                  </a:lnTo>
                  <a:lnTo>
                    <a:pt x="29" y="10"/>
                  </a:lnTo>
                  <a:lnTo>
                    <a:pt x="35" y="3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8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6586538" y="3811588"/>
              <a:ext cx="735013" cy="227013"/>
            </a:xfrm>
            <a:custGeom>
              <a:avLst/>
              <a:gdLst>
                <a:gd name="T0" fmla="*/ 892 w 927"/>
                <a:gd name="T1" fmla="*/ 4 h 285"/>
                <a:gd name="T2" fmla="*/ 898 w 927"/>
                <a:gd name="T3" fmla="*/ 18 h 285"/>
                <a:gd name="T4" fmla="*/ 836 w 927"/>
                <a:gd name="T5" fmla="*/ 110 h 285"/>
                <a:gd name="T6" fmla="*/ 926 w 927"/>
                <a:gd name="T7" fmla="*/ 176 h 285"/>
                <a:gd name="T8" fmla="*/ 924 w 927"/>
                <a:gd name="T9" fmla="*/ 193 h 285"/>
                <a:gd name="T10" fmla="*/ 918 w 927"/>
                <a:gd name="T11" fmla="*/ 199 h 285"/>
                <a:gd name="T12" fmla="*/ 910 w 927"/>
                <a:gd name="T13" fmla="*/ 201 h 285"/>
                <a:gd name="T14" fmla="*/ 900 w 927"/>
                <a:gd name="T15" fmla="*/ 197 h 285"/>
                <a:gd name="T16" fmla="*/ 724 w 927"/>
                <a:gd name="T17" fmla="*/ 147 h 285"/>
                <a:gd name="T18" fmla="*/ 795 w 927"/>
                <a:gd name="T19" fmla="*/ 199 h 285"/>
                <a:gd name="T20" fmla="*/ 793 w 927"/>
                <a:gd name="T21" fmla="*/ 215 h 285"/>
                <a:gd name="T22" fmla="*/ 787 w 927"/>
                <a:gd name="T23" fmla="*/ 222 h 285"/>
                <a:gd name="T24" fmla="*/ 779 w 927"/>
                <a:gd name="T25" fmla="*/ 223 h 285"/>
                <a:gd name="T26" fmla="*/ 769 w 927"/>
                <a:gd name="T27" fmla="*/ 221 h 285"/>
                <a:gd name="T28" fmla="*/ 583 w 927"/>
                <a:gd name="T29" fmla="*/ 171 h 285"/>
                <a:gd name="T30" fmla="*/ 652 w 927"/>
                <a:gd name="T31" fmla="*/ 223 h 285"/>
                <a:gd name="T32" fmla="*/ 650 w 927"/>
                <a:gd name="T33" fmla="*/ 240 h 285"/>
                <a:gd name="T34" fmla="*/ 644 w 927"/>
                <a:gd name="T35" fmla="*/ 245 h 285"/>
                <a:gd name="T36" fmla="*/ 636 w 927"/>
                <a:gd name="T37" fmla="*/ 248 h 285"/>
                <a:gd name="T38" fmla="*/ 627 w 927"/>
                <a:gd name="T39" fmla="*/ 244 h 285"/>
                <a:gd name="T40" fmla="*/ 78 w 927"/>
                <a:gd name="T41" fmla="*/ 258 h 285"/>
                <a:gd name="T42" fmla="*/ 81 w 927"/>
                <a:gd name="T43" fmla="*/ 278 h 285"/>
                <a:gd name="T44" fmla="*/ 78 w 927"/>
                <a:gd name="T45" fmla="*/ 284 h 285"/>
                <a:gd name="T46" fmla="*/ 71 w 927"/>
                <a:gd name="T47" fmla="*/ 285 h 285"/>
                <a:gd name="T48" fmla="*/ 8 w 927"/>
                <a:gd name="T49" fmla="*/ 262 h 285"/>
                <a:gd name="T50" fmla="*/ 1 w 927"/>
                <a:gd name="T51" fmla="*/ 258 h 285"/>
                <a:gd name="T52" fmla="*/ 0 w 927"/>
                <a:gd name="T53" fmla="*/ 252 h 285"/>
                <a:gd name="T54" fmla="*/ 4 w 927"/>
                <a:gd name="T55" fmla="*/ 244 h 285"/>
                <a:gd name="T56" fmla="*/ 57 w 927"/>
                <a:gd name="T57" fmla="*/ 202 h 285"/>
                <a:gd name="T58" fmla="*/ 64 w 927"/>
                <a:gd name="T59" fmla="*/ 201 h 285"/>
                <a:gd name="T60" fmla="*/ 69 w 927"/>
                <a:gd name="T61" fmla="*/ 206 h 285"/>
                <a:gd name="T62" fmla="*/ 73 w 927"/>
                <a:gd name="T63" fmla="*/ 224 h 285"/>
                <a:gd name="T64" fmla="*/ 595 w 927"/>
                <a:gd name="T65" fmla="*/ 55 h 285"/>
                <a:gd name="T66" fmla="*/ 610 w 927"/>
                <a:gd name="T67" fmla="*/ 47 h 285"/>
                <a:gd name="T68" fmla="*/ 623 w 927"/>
                <a:gd name="T69" fmla="*/ 57 h 285"/>
                <a:gd name="T70" fmla="*/ 622 w 927"/>
                <a:gd name="T71" fmla="*/ 74 h 285"/>
                <a:gd name="T72" fmla="*/ 671 w 927"/>
                <a:gd name="T73" fmla="*/ 122 h 285"/>
                <a:gd name="T74" fmla="*/ 744 w 927"/>
                <a:gd name="T75" fmla="*/ 25 h 285"/>
                <a:gd name="T76" fmla="*/ 761 w 927"/>
                <a:gd name="T77" fmla="*/ 26 h 285"/>
                <a:gd name="T78" fmla="*/ 767 w 927"/>
                <a:gd name="T79" fmla="*/ 42 h 285"/>
                <a:gd name="T80" fmla="*/ 718 w 927"/>
                <a:gd name="T81" fmla="*/ 114 h 285"/>
                <a:gd name="T82" fmla="*/ 867 w 927"/>
                <a:gd name="T83" fmla="*/ 8 h 285"/>
                <a:gd name="T84" fmla="*/ 883 w 927"/>
                <a:gd name="T85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7" h="285">
                  <a:moveTo>
                    <a:pt x="883" y="0"/>
                  </a:moveTo>
                  <a:lnTo>
                    <a:pt x="892" y="4"/>
                  </a:lnTo>
                  <a:lnTo>
                    <a:pt x="897" y="10"/>
                  </a:lnTo>
                  <a:lnTo>
                    <a:pt x="898" y="18"/>
                  </a:lnTo>
                  <a:lnTo>
                    <a:pt x="896" y="27"/>
                  </a:lnTo>
                  <a:lnTo>
                    <a:pt x="836" y="110"/>
                  </a:lnTo>
                  <a:lnTo>
                    <a:pt x="919" y="170"/>
                  </a:lnTo>
                  <a:lnTo>
                    <a:pt x="926" y="176"/>
                  </a:lnTo>
                  <a:lnTo>
                    <a:pt x="927" y="186"/>
                  </a:lnTo>
                  <a:lnTo>
                    <a:pt x="924" y="193"/>
                  </a:lnTo>
                  <a:lnTo>
                    <a:pt x="921" y="197"/>
                  </a:lnTo>
                  <a:lnTo>
                    <a:pt x="918" y="199"/>
                  </a:lnTo>
                  <a:lnTo>
                    <a:pt x="914" y="200"/>
                  </a:lnTo>
                  <a:lnTo>
                    <a:pt x="910" y="201"/>
                  </a:lnTo>
                  <a:lnTo>
                    <a:pt x="905" y="200"/>
                  </a:lnTo>
                  <a:lnTo>
                    <a:pt x="900" y="197"/>
                  </a:lnTo>
                  <a:lnTo>
                    <a:pt x="808" y="132"/>
                  </a:lnTo>
                  <a:lnTo>
                    <a:pt x="724" y="147"/>
                  </a:lnTo>
                  <a:lnTo>
                    <a:pt x="788" y="192"/>
                  </a:lnTo>
                  <a:lnTo>
                    <a:pt x="795" y="199"/>
                  </a:lnTo>
                  <a:lnTo>
                    <a:pt x="796" y="208"/>
                  </a:lnTo>
                  <a:lnTo>
                    <a:pt x="793" y="215"/>
                  </a:lnTo>
                  <a:lnTo>
                    <a:pt x="789" y="219"/>
                  </a:lnTo>
                  <a:lnTo>
                    <a:pt x="787" y="222"/>
                  </a:lnTo>
                  <a:lnTo>
                    <a:pt x="783" y="223"/>
                  </a:lnTo>
                  <a:lnTo>
                    <a:pt x="779" y="223"/>
                  </a:lnTo>
                  <a:lnTo>
                    <a:pt x="774" y="222"/>
                  </a:lnTo>
                  <a:lnTo>
                    <a:pt x="769" y="221"/>
                  </a:lnTo>
                  <a:lnTo>
                    <a:pt x="678" y="156"/>
                  </a:lnTo>
                  <a:lnTo>
                    <a:pt x="583" y="171"/>
                  </a:lnTo>
                  <a:lnTo>
                    <a:pt x="647" y="217"/>
                  </a:lnTo>
                  <a:lnTo>
                    <a:pt x="652" y="223"/>
                  </a:lnTo>
                  <a:lnTo>
                    <a:pt x="653" y="232"/>
                  </a:lnTo>
                  <a:lnTo>
                    <a:pt x="650" y="240"/>
                  </a:lnTo>
                  <a:lnTo>
                    <a:pt x="648" y="244"/>
                  </a:lnTo>
                  <a:lnTo>
                    <a:pt x="644" y="245"/>
                  </a:lnTo>
                  <a:lnTo>
                    <a:pt x="640" y="247"/>
                  </a:lnTo>
                  <a:lnTo>
                    <a:pt x="636" y="248"/>
                  </a:lnTo>
                  <a:lnTo>
                    <a:pt x="631" y="247"/>
                  </a:lnTo>
                  <a:lnTo>
                    <a:pt x="627" y="244"/>
                  </a:lnTo>
                  <a:lnTo>
                    <a:pt x="535" y="180"/>
                  </a:lnTo>
                  <a:lnTo>
                    <a:pt x="78" y="258"/>
                  </a:lnTo>
                  <a:lnTo>
                    <a:pt x="81" y="272"/>
                  </a:lnTo>
                  <a:lnTo>
                    <a:pt x="81" y="278"/>
                  </a:lnTo>
                  <a:lnTo>
                    <a:pt x="79" y="280"/>
                  </a:lnTo>
                  <a:lnTo>
                    <a:pt x="78" y="284"/>
                  </a:lnTo>
                  <a:lnTo>
                    <a:pt x="75" y="285"/>
                  </a:lnTo>
                  <a:lnTo>
                    <a:pt x="71" y="285"/>
                  </a:lnTo>
                  <a:lnTo>
                    <a:pt x="66" y="284"/>
                  </a:lnTo>
                  <a:lnTo>
                    <a:pt x="8" y="262"/>
                  </a:lnTo>
                  <a:lnTo>
                    <a:pt x="4" y="261"/>
                  </a:lnTo>
                  <a:lnTo>
                    <a:pt x="1" y="258"/>
                  </a:lnTo>
                  <a:lnTo>
                    <a:pt x="0" y="254"/>
                  </a:lnTo>
                  <a:lnTo>
                    <a:pt x="0" y="252"/>
                  </a:lnTo>
                  <a:lnTo>
                    <a:pt x="1" y="248"/>
                  </a:lnTo>
                  <a:lnTo>
                    <a:pt x="4" y="244"/>
                  </a:lnTo>
                  <a:lnTo>
                    <a:pt x="53" y="204"/>
                  </a:lnTo>
                  <a:lnTo>
                    <a:pt x="57" y="202"/>
                  </a:lnTo>
                  <a:lnTo>
                    <a:pt x="61" y="201"/>
                  </a:lnTo>
                  <a:lnTo>
                    <a:pt x="64" y="201"/>
                  </a:lnTo>
                  <a:lnTo>
                    <a:pt x="66" y="204"/>
                  </a:lnTo>
                  <a:lnTo>
                    <a:pt x="69" y="206"/>
                  </a:lnTo>
                  <a:lnTo>
                    <a:pt x="70" y="210"/>
                  </a:lnTo>
                  <a:lnTo>
                    <a:pt x="73" y="224"/>
                  </a:lnTo>
                  <a:lnTo>
                    <a:pt x="528" y="147"/>
                  </a:lnTo>
                  <a:lnTo>
                    <a:pt x="595" y="55"/>
                  </a:lnTo>
                  <a:lnTo>
                    <a:pt x="601" y="48"/>
                  </a:lnTo>
                  <a:lnTo>
                    <a:pt x="610" y="47"/>
                  </a:lnTo>
                  <a:lnTo>
                    <a:pt x="618" y="51"/>
                  </a:lnTo>
                  <a:lnTo>
                    <a:pt x="623" y="57"/>
                  </a:lnTo>
                  <a:lnTo>
                    <a:pt x="625" y="65"/>
                  </a:lnTo>
                  <a:lnTo>
                    <a:pt x="622" y="74"/>
                  </a:lnTo>
                  <a:lnTo>
                    <a:pt x="576" y="139"/>
                  </a:lnTo>
                  <a:lnTo>
                    <a:pt x="671" y="122"/>
                  </a:lnTo>
                  <a:lnTo>
                    <a:pt x="736" y="30"/>
                  </a:lnTo>
                  <a:lnTo>
                    <a:pt x="744" y="25"/>
                  </a:lnTo>
                  <a:lnTo>
                    <a:pt x="752" y="22"/>
                  </a:lnTo>
                  <a:lnTo>
                    <a:pt x="761" y="26"/>
                  </a:lnTo>
                  <a:lnTo>
                    <a:pt x="766" y="32"/>
                  </a:lnTo>
                  <a:lnTo>
                    <a:pt x="767" y="42"/>
                  </a:lnTo>
                  <a:lnTo>
                    <a:pt x="765" y="49"/>
                  </a:lnTo>
                  <a:lnTo>
                    <a:pt x="718" y="114"/>
                  </a:lnTo>
                  <a:lnTo>
                    <a:pt x="802" y="99"/>
                  </a:lnTo>
                  <a:lnTo>
                    <a:pt x="867" y="8"/>
                  </a:lnTo>
                  <a:lnTo>
                    <a:pt x="875" y="1"/>
                  </a:lnTo>
                  <a:lnTo>
                    <a:pt x="883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9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481513" y="2773363"/>
              <a:ext cx="1312863" cy="1312863"/>
            </a:xfrm>
            <a:custGeom>
              <a:avLst/>
              <a:gdLst>
                <a:gd name="T0" fmla="*/ 765 w 1654"/>
                <a:gd name="T1" fmla="*/ 297 h 1653"/>
                <a:gd name="T2" fmla="*/ 648 w 1654"/>
                <a:gd name="T3" fmla="*/ 325 h 1653"/>
                <a:gd name="T4" fmla="*/ 542 w 1654"/>
                <a:gd name="T5" fmla="*/ 376 h 1653"/>
                <a:gd name="T6" fmla="*/ 451 w 1654"/>
                <a:gd name="T7" fmla="*/ 450 h 1653"/>
                <a:gd name="T8" fmla="*/ 378 w 1654"/>
                <a:gd name="T9" fmla="*/ 541 h 1653"/>
                <a:gd name="T10" fmla="*/ 326 w 1654"/>
                <a:gd name="T11" fmla="*/ 646 h 1653"/>
                <a:gd name="T12" fmla="*/ 299 w 1654"/>
                <a:gd name="T13" fmla="*/ 764 h 1653"/>
                <a:gd name="T14" fmla="*/ 299 w 1654"/>
                <a:gd name="T15" fmla="*/ 888 h 1653"/>
                <a:gd name="T16" fmla="*/ 326 w 1654"/>
                <a:gd name="T17" fmla="*/ 1006 h 1653"/>
                <a:gd name="T18" fmla="*/ 378 w 1654"/>
                <a:gd name="T19" fmla="*/ 1111 h 1653"/>
                <a:gd name="T20" fmla="*/ 451 w 1654"/>
                <a:gd name="T21" fmla="*/ 1202 h 1653"/>
                <a:gd name="T22" fmla="*/ 542 w 1654"/>
                <a:gd name="T23" fmla="*/ 1276 h 1653"/>
                <a:gd name="T24" fmla="*/ 648 w 1654"/>
                <a:gd name="T25" fmla="*/ 1327 h 1653"/>
                <a:gd name="T26" fmla="*/ 765 w 1654"/>
                <a:gd name="T27" fmla="*/ 1355 h 1653"/>
                <a:gd name="T28" fmla="*/ 889 w 1654"/>
                <a:gd name="T29" fmla="*/ 1355 h 1653"/>
                <a:gd name="T30" fmla="*/ 1006 w 1654"/>
                <a:gd name="T31" fmla="*/ 1327 h 1653"/>
                <a:gd name="T32" fmla="*/ 1113 w 1654"/>
                <a:gd name="T33" fmla="*/ 1276 h 1653"/>
                <a:gd name="T34" fmla="*/ 1204 w 1654"/>
                <a:gd name="T35" fmla="*/ 1202 h 1653"/>
                <a:gd name="T36" fmla="*/ 1276 w 1654"/>
                <a:gd name="T37" fmla="*/ 1111 h 1653"/>
                <a:gd name="T38" fmla="*/ 1328 w 1654"/>
                <a:gd name="T39" fmla="*/ 1006 h 1653"/>
                <a:gd name="T40" fmla="*/ 1356 w 1654"/>
                <a:gd name="T41" fmla="*/ 888 h 1653"/>
                <a:gd name="T42" fmla="*/ 1356 w 1654"/>
                <a:gd name="T43" fmla="*/ 764 h 1653"/>
                <a:gd name="T44" fmla="*/ 1328 w 1654"/>
                <a:gd name="T45" fmla="*/ 646 h 1653"/>
                <a:gd name="T46" fmla="*/ 1276 w 1654"/>
                <a:gd name="T47" fmla="*/ 541 h 1653"/>
                <a:gd name="T48" fmla="*/ 1204 w 1654"/>
                <a:gd name="T49" fmla="*/ 450 h 1653"/>
                <a:gd name="T50" fmla="*/ 1113 w 1654"/>
                <a:gd name="T51" fmla="*/ 376 h 1653"/>
                <a:gd name="T52" fmla="*/ 1006 w 1654"/>
                <a:gd name="T53" fmla="*/ 325 h 1653"/>
                <a:gd name="T54" fmla="*/ 889 w 1654"/>
                <a:gd name="T55" fmla="*/ 297 h 1653"/>
                <a:gd name="T56" fmla="*/ 827 w 1654"/>
                <a:gd name="T57" fmla="*/ 0 h 1653"/>
                <a:gd name="T58" fmla="*/ 984 w 1654"/>
                <a:gd name="T59" fmla="*/ 14 h 1653"/>
                <a:gd name="T60" fmla="*/ 1131 w 1654"/>
                <a:gd name="T61" fmla="*/ 57 h 1653"/>
                <a:gd name="T62" fmla="*/ 1266 w 1654"/>
                <a:gd name="T63" fmla="*/ 126 h 1653"/>
                <a:gd name="T64" fmla="*/ 1384 w 1654"/>
                <a:gd name="T65" fmla="*/ 216 h 1653"/>
                <a:gd name="T66" fmla="*/ 1485 w 1654"/>
                <a:gd name="T67" fmla="*/ 326 h 1653"/>
                <a:gd name="T68" fmla="*/ 1566 w 1654"/>
                <a:gd name="T69" fmla="*/ 453 h 1653"/>
                <a:gd name="T70" fmla="*/ 1622 w 1654"/>
                <a:gd name="T71" fmla="*/ 594 h 1653"/>
                <a:gd name="T72" fmla="*/ 1650 w 1654"/>
                <a:gd name="T73" fmla="*/ 746 h 1653"/>
                <a:gd name="T74" fmla="*/ 1650 w 1654"/>
                <a:gd name="T75" fmla="*/ 906 h 1653"/>
                <a:gd name="T76" fmla="*/ 1622 w 1654"/>
                <a:gd name="T77" fmla="*/ 1058 h 1653"/>
                <a:gd name="T78" fmla="*/ 1566 w 1654"/>
                <a:gd name="T79" fmla="*/ 1199 h 1653"/>
                <a:gd name="T80" fmla="*/ 1485 w 1654"/>
                <a:gd name="T81" fmla="*/ 1326 h 1653"/>
                <a:gd name="T82" fmla="*/ 1384 w 1654"/>
                <a:gd name="T83" fmla="*/ 1436 h 1653"/>
                <a:gd name="T84" fmla="*/ 1266 w 1654"/>
                <a:gd name="T85" fmla="*/ 1526 h 1653"/>
                <a:gd name="T86" fmla="*/ 1131 w 1654"/>
                <a:gd name="T87" fmla="*/ 1595 h 1653"/>
                <a:gd name="T88" fmla="*/ 984 w 1654"/>
                <a:gd name="T89" fmla="*/ 1638 h 1653"/>
                <a:gd name="T90" fmla="*/ 827 w 1654"/>
                <a:gd name="T91" fmla="*/ 1653 h 1653"/>
                <a:gd name="T92" fmla="*/ 670 w 1654"/>
                <a:gd name="T93" fmla="*/ 1638 h 1653"/>
                <a:gd name="T94" fmla="*/ 523 w 1654"/>
                <a:gd name="T95" fmla="*/ 1595 h 1653"/>
                <a:gd name="T96" fmla="*/ 388 w 1654"/>
                <a:gd name="T97" fmla="*/ 1526 h 1653"/>
                <a:gd name="T98" fmla="*/ 270 w 1654"/>
                <a:gd name="T99" fmla="*/ 1436 h 1653"/>
                <a:gd name="T100" fmla="*/ 169 w 1654"/>
                <a:gd name="T101" fmla="*/ 1326 h 1653"/>
                <a:gd name="T102" fmla="*/ 90 w 1654"/>
                <a:gd name="T103" fmla="*/ 1199 h 1653"/>
                <a:gd name="T104" fmla="*/ 34 w 1654"/>
                <a:gd name="T105" fmla="*/ 1058 h 1653"/>
                <a:gd name="T106" fmla="*/ 4 w 1654"/>
                <a:gd name="T107" fmla="*/ 906 h 1653"/>
                <a:gd name="T108" fmla="*/ 4 w 1654"/>
                <a:gd name="T109" fmla="*/ 746 h 1653"/>
                <a:gd name="T110" fmla="*/ 34 w 1654"/>
                <a:gd name="T111" fmla="*/ 594 h 1653"/>
                <a:gd name="T112" fmla="*/ 90 w 1654"/>
                <a:gd name="T113" fmla="*/ 453 h 1653"/>
                <a:gd name="T114" fmla="*/ 169 w 1654"/>
                <a:gd name="T115" fmla="*/ 326 h 1653"/>
                <a:gd name="T116" fmla="*/ 270 w 1654"/>
                <a:gd name="T117" fmla="*/ 216 h 1653"/>
                <a:gd name="T118" fmla="*/ 388 w 1654"/>
                <a:gd name="T119" fmla="*/ 126 h 1653"/>
                <a:gd name="T120" fmla="*/ 523 w 1654"/>
                <a:gd name="T121" fmla="*/ 57 h 1653"/>
                <a:gd name="T122" fmla="*/ 670 w 1654"/>
                <a:gd name="T123" fmla="*/ 14 h 1653"/>
                <a:gd name="T124" fmla="*/ 827 w 1654"/>
                <a:gd name="T125" fmla="*/ 0 h 1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54" h="1653">
                  <a:moveTo>
                    <a:pt x="827" y="293"/>
                  </a:moveTo>
                  <a:lnTo>
                    <a:pt x="765" y="297"/>
                  </a:lnTo>
                  <a:lnTo>
                    <a:pt x="705" y="308"/>
                  </a:lnTo>
                  <a:lnTo>
                    <a:pt x="648" y="325"/>
                  </a:lnTo>
                  <a:lnTo>
                    <a:pt x="593" y="348"/>
                  </a:lnTo>
                  <a:lnTo>
                    <a:pt x="542" y="376"/>
                  </a:lnTo>
                  <a:lnTo>
                    <a:pt x="495" y="411"/>
                  </a:lnTo>
                  <a:lnTo>
                    <a:pt x="451" y="450"/>
                  </a:lnTo>
                  <a:lnTo>
                    <a:pt x="412" y="493"/>
                  </a:lnTo>
                  <a:lnTo>
                    <a:pt x="378" y="541"/>
                  </a:lnTo>
                  <a:lnTo>
                    <a:pt x="349" y="592"/>
                  </a:lnTo>
                  <a:lnTo>
                    <a:pt x="326" y="646"/>
                  </a:lnTo>
                  <a:lnTo>
                    <a:pt x="309" y="705"/>
                  </a:lnTo>
                  <a:lnTo>
                    <a:pt x="299" y="764"/>
                  </a:lnTo>
                  <a:lnTo>
                    <a:pt x="295" y="827"/>
                  </a:lnTo>
                  <a:lnTo>
                    <a:pt x="299" y="888"/>
                  </a:lnTo>
                  <a:lnTo>
                    <a:pt x="309" y="949"/>
                  </a:lnTo>
                  <a:lnTo>
                    <a:pt x="326" y="1006"/>
                  </a:lnTo>
                  <a:lnTo>
                    <a:pt x="349" y="1060"/>
                  </a:lnTo>
                  <a:lnTo>
                    <a:pt x="378" y="1111"/>
                  </a:lnTo>
                  <a:lnTo>
                    <a:pt x="412" y="1159"/>
                  </a:lnTo>
                  <a:lnTo>
                    <a:pt x="451" y="1202"/>
                  </a:lnTo>
                  <a:lnTo>
                    <a:pt x="495" y="1242"/>
                  </a:lnTo>
                  <a:lnTo>
                    <a:pt x="542" y="1276"/>
                  </a:lnTo>
                  <a:lnTo>
                    <a:pt x="593" y="1304"/>
                  </a:lnTo>
                  <a:lnTo>
                    <a:pt x="648" y="1327"/>
                  </a:lnTo>
                  <a:lnTo>
                    <a:pt x="705" y="1344"/>
                  </a:lnTo>
                  <a:lnTo>
                    <a:pt x="765" y="1355"/>
                  </a:lnTo>
                  <a:lnTo>
                    <a:pt x="827" y="1359"/>
                  </a:lnTo>
                  <a:lnTo>
                    <a:pt x="889" y="1355"/>
                  </a:lnTo>
                  <a:lnTo>
                    <a:pt x="949" y="1344"/>
                  </a:lnTo>
                  <a:lnTo>
                    <a:pt x="1006" y="1327"/>
                  </a:lnTo>
                  <a:lnTo>
                    <a:pt x="1061" y="1304"/>
                  </a:lnTo>
                  <a:lnTo>
                    <a:pt x="1113" y="1276"/>
                  </a:lnTo>
                  <a:lnTo>
                    <a:pt x="1159" y="1242"/>
                  </a:lnTo>
                  <a:lnTo>
                    <a:pt x="1204" y="1202"/>
                  </a:lnTo>
                  <a:lnTo>
                    <a:pt x="1243" y="1159"/>
                  </a:lnTo>
                  <a:lnTo>
                    <a:pt x="1276" y="1111"/>
                  </a:lnTo>
                  <a:lnTo>
                    <a:pt x="1305" y="1060"/>
                  </a:lnTo>
                  <a:lnTo>
                    <a:pt x="1328" y="1006"/>
                  </a:lnTo>
                  <a:lnTo>
                    <a:pt x="1345" y="949"/>
                  </a:lnTo>
                  <a:lnTo>
                    <a:pt x="1356" y="888"/>
                  </a:lnTo>
                  <a:lnTo>
                    <a:pt x="1359" y="827"/>
                  </a:lnTo>
                  <a:lnTo>
                    <a:pt x="1356" y="764"/>
                  </a:lnTo>
                  <a:lnTo>
                    <a:pt x="1345" y="705"/>
                  </a:lnTo>
                  <a:lnTo>
                    <a:pt x="1328" y="646"/>
                  </a:lnTo>
                  <a:lnTo>
                    <a:pt x="1305" y="592"/>
                  </a:lnTo>
                  <a:lnTo>
                    <a:pt x="1276" y="541"/>
                  </a:lnTo>
                  <a:lnTo>
                    <a:pt x="1243" y="493"/>
                  </a:lnTo>
                  <a:lnTo>
                    <a:pt x="1204" y="450"/>
                  </a:lnTo>
                  <a:lnTo>
                    <a:pt x="1159" y="411"/>
                  </a:lnTo>
                  <a:lnTo>
                    <a:pt x="1113" y="376"/>
                  </a:lnTo>
                  <a:lnTo>
                    <a:pt x="1061" y="348"/>
                  </a:lnTo>
                  <a:lnTo>
                    <a:pt x="1006" y="325"/>
                  </a:lnTo>
                  <a:lnTo>
                    <a:pt x="949" y="308"/>
                  </a:lnTo>
                  <a:lnTo>
                    <a:pt x="889" y="297"/>
                  </a:lnTo>
                  <a:lnTo>
                    <a:pt x="827" y="293"/>
                  </a:lnTo>
                  <a:close/>
                  <a:moveTo>
                    <a:pt x="827" y="0"/>
                  </a:moveTo>
                  <a:lnTo>
                    <a:pt x="906" y="3"/>
                  </a:lnTo>
                  <a:lnTo>
                    <a:pt x="984" y="14"/>
                  </a:lnTo>
                  <a:lnTo>
                    <a:pt x="1060" y="33"/>
                  </a:lnTo>
                  <a:lnTo>
                    <a:pt x="1131" y="57"/>
                  </a:lnTo>
                  <a:lnTo>
                    <a:pt x="1200" y="88"/>
                  </a:lnTo>
                  <a:lnTo>
                    <a:pt x="1266" y="126"/>
                  </a:lnTo>
                  <a:lnTo>
                    <a:pt x="1327" y="168"/>
                  </a:lnTo>
                  <a:lnTo>
                    <a:pt x="1384" y="216"/>
                  </a:lnTo>
                  <a:lnTo>
                    <a:pt x="1437" y="269"/>
                  </a:lnTo>
                  <a:lnTo>
                    <a:pt x="1485" y="326"/>
                  </a:lnTo>
                  <a:lnTo>
                    <a:pt x="1528" y="388"/>
                  </a:lnTo>
                  <a:lnTo>
                    <a:pt x="1566" y="453"/>
                  </a:lnTo>
                  <a:lnTo>
                    <a:pt x="1596" y="522"/>
                  </a:lnTo>
                  <a:lnTo>
                    <a:pt x="1622" y="594"/>
                  </a:lnTo>
                  <a:lnTo>
                    <a:pt x="1640" y="670"/>
                  </a:lnTo>
                  <a:lnTo>
                    <a:pt x="1650" y="746"/>
                  </a:lnTo>
                  <a:lnTo>
                    <a:pt x="1654" y="827"/>
                  </a:lnTo>
                  <a:lnTo>
                    <a:pt x="1650" y="906"/>
                  </a:lnTo>
                  <a:lnTo>
                    <a:pt x="1640" y="982"/>
                  </a:lnTo>
                  <a:lnTo>
                    <a:pt x="1622" y="1058"/>
                  </a:lnTo>
                  <a:lnTo>
                    <a:pt x="1596" y="1130"/>
                  </a:lnTo>
                  <a:lnTo>
                    <a:pt x="1566" y="1199"/>
                  </a:lnTo>
                  <a:lnTo>
                    <a:pt x="1528" y="1264"/>
                  </a:lnTo>
                  <a:lnTo>
                    <a:pt x="1485" y="1326"/>
                  </a:lnTo>
                  <a:lnTo>
                    <a:pt x="1437" y="1383"/>
                  </a:lnTo>
                  <a:lnTo>
                    <a:pt x="1384" y="1436"/>
                  </a:lnTo>
                  <a:lnTo>
                    <a:pt x="1327" y="1484"/>
                  </a:lnTo>
                  <a:lnTo>
                    <a:pt x="1266" y="1526"/>
                  </a:lnTo>
                  <a:lnTo>
                    <a:pt x="1200" y="1564"/>
                  </a:lnTo>
                  <a:lnTo>
                    <a:pt x="1131" y="1595"/>
                  </a:lnTo>
                  <a:lnTo>
                    <a:pt x="1060" y="1619"/>
                  </a:lnTo>
                  <a:lnTo>
                    <a:pt x="984" y="1638"/>
                  </a:lnTo>
                  <a:lnTo>
                    <a:pt x="906" y="1649"/>
                  </a:lnTo>
                  <a:lnTo>
                    <a:pt x="827" y="1653"/>
                  </a:lnTo>
                  <a:lnTo>
                    <a:pt x="748" y="1649"/>
                  </a:lnTo>
                  <a:lnTo>
                    <a:pt x="670" y="1638"/>
                  </a:lnTo>
                  <a:lnTo>
                    <a:pt x="595" y="1619"/>
                  </a:lnTo>
                  <a:lnTo>
                    <a:pt x="523" y="1595"/>
                  </a:lnTo>
                  <a:lnTo>
                    <a:pt x="455" y="1564"/>
                  </a:lnTo>
                  <a:lnTo>
                    <a:pt x="388" y="1526"/>
                  </a:lnTo>
                  <a:lnTo>
                    <a:pt x="327" y="1484"/>
                  </a:lnTo>
                  <a:lnTo>
                    <a:pt x="270" y="1436"/>
                  </a:lnTo>
                  <a:lnTo>
                    <a:pt x="217" y="1383"/>
                  </a:lnTo>
                  <a:lnTo>
                    <a:pt x="169" y="1326"/>
                  </a:lnTo>
                  <a:lnTo>
                    <a:pt x="126" y="1264"/>
                  </a:lnTo>
                  <a:lnTo>
                    <a:pt x="90" y="1199"/>
                  </a:lnTo>
                  <a:lnTo>
                    <a:pt x="59" y="1130"/>
                  </a:lnTo>
                  <a:lnTo>
                    <a:pt x="34" y="1058"/>
                  </a:lnTo>
                  <a:lnTo>
                    <a:pt x="16" y="982"/>
                  </a:lnTo>
                  <a:lnTo>
                    <a:pt x="4" y="906"/>
                  </a:lnTo>
                  <a:lnTo>
                    <a:pt x="0" y="827"/>
                  </a:lnTo>
                  <a:lnTo>
                    <a:pt x="4" y="746"/>
                  </a:lnTo>
                  <a:lnTo>
                    <a:pt x="16" y="670"/>
                  </a:lnTo>
                  <a:lnTo>
                    <a:pt x="34" y="594"/>
                  </a:lnTo>
                  <a:lnTo>
                    <a:pt x="59" y="522"/>
                  </a:lnTo>
                  <a:lnTo>
                    <a:pt x="90" y="453"/>
                  </a:lnTo>
                  <a:lnTo>
                    <a:pt x="126" y="388"/>
                  </a:lnTo>
                  <a:lnTo>
                    <a:pt x="169" y="326"/>
                  </a:lnTo>
                  <a:lnTo>
                    <a:pt x="217" y="269"/>
                  </a:lnTo>
                  <a:lnTo>
                    <a:pt x="270" y="216"/>
                  </a:lnTo>
                  <a:lnTo>
                    <a:pt x="327" y="168"/>
                  </a:lnTo>
                  <a:lnTo>
                    <a:pt x="388" y="126"/>
                  </a:lnTo>
                  <a:lnTo>
                    <a:pt x="455" y="88"/>
                  </a:lnTo>
                  <a:lnTo>
                    <a:pt x="523" y="57"/>
                  </a:lnTo>
                  <a:lnTo>
                    <a:pt x="595" y="33"/>
                  </a:lnTo>
                  <a:lnTo>
                    <a:pt x="670" y="14"/>
                  </a:lnTo>
                  <a:lnTo>
                    <a:pt x="748" y="3"/>
                  </a:lnTo>
                  <a:lnTo>
                    <a:pt x="827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2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921125" y="2551113"/>
              <a:ext cx="1274763" cy="912813"/>
            </a:xfrm>
            <a:custGeom>
              <a:avLst/>
              <a:gdLst>
                <a:gd name="T0" fmla="*/ 165 w 1606"/>
                <a:gd name="T1" fmla="*/ 1 h 1151"/>
                <a:gd name="T2" fmla="*/ 180 w 1606"/>
                <a:gd name="T3" fmla="*/ 18 h 1151"/>
                <a:gd name="T4" fmla="*/ 317 w 1606"/>
                <a:gd name="T5" fmla="*/ 248 h 1151"/>
                <a:gd name="T6" fmla="*/ 295 w 1606"/>
                <a:gd name="T7" fmla="*/ 121 h 1151"/>
                <a:gd name="T8" fmla="*/ 312 w 1606"/>
                <a:gd name="T9" fmla="*/ 106 h 1151"/>
                <a:gd name="T10" fmla="*/ 332 w 1606"/>
                <a:gd name="T11" fmla="*/ 113 h 1151"/>
                <a:gd name="T12" fmla="*/ 370 w 1606"/>
                <a:gd name="T13" fmla="*/ 283 h 1151"/>
                <a:gd name="T14" fmla="*/ 465 w 1606"/>
                <a:gd name="T15" fmla="*/ 248 h 1151"/>
                <a:gd name="T16" fmla="*/ 473 w 1606"/>
                <a:gd name="T17" fmla="*/ 227 h 1151"/>
                <a:gd name="T18" fmla="*/ 495 w 1606"/>
                <a:gd name="T19" fmla="*/ 223 h 1151"/>
                <a:gd name="T20" fmla="*/ 509 w 1606"/>
                <a:gd name="T21" fmla="*/ 240 h 1151"/>
                <a:gd name="T22" fmla="*/ 1489 w 1606"/>
                <a:gd name="T23" fmla="*/ 1038 h 1151"/>
                <a:gd name="T24" fmla="*/ 1520 w 1606"/>
                <a:gd name="T25" fmla="*/ 996 h 1151"/>
                <a:gd name="T26" fmla="*/ 1540 w 1606"/>
                <a:gd name="T27" fmla="*/ 998 h 1151"/>
                <a:gd name="T28" fmla="*/ 1603 w 1606"/>
                <a:gd name="T29" fmla="*/ 1121 h 1151"/>
                <a:gd name="T30" fmla="*/ 1603 w 1606"/>
                <a:gd name="T31" fmla="*/ 1143 h 1151"/>
                <a:gd name="T32" fmla="*/ 1582 w 1606"/>
                <a:gd name="T33" fmla="*/ 1151 h 1151"/>
                <a:gd name="T34" fmla="*/ 1445 w 1606"/>
                <a:gd name="T35" fmla="*/ 1138 h 1151"/>
                <a:gd name="T36" fmla="*/ 1436 w 1606"/>
                <a:gd name="T37" fmla="*/ 1121 h 1151"/>
                <a:gd name="T38" fmla="*/ 1464 w 1606"/>
                <a:gd name="T39" fmla="*/ 1076 h 1151"/>
                <a:gd name="T40" fmla="*/ 356 w 1606"/>
                <a:gd name="T41" fmla="*/ 467 h 1151"/>
                <a:gd name="T42" fmla="*/ 341 w 1606"/>
                <a:gd name="T43" fmla="*/ 464 h 1151"/>
                <a:gd name="T44" fmla="*/ 330 w 1606"/>
                <a:gd name="T45" fmla="*/ 449 h 1151"/>
                <a:gd name="T46" fmla="*/ 336 w 1606"/>
                <a:gd name="T47" fmla="*/ 427 h 1151"/>
                <a:gd name="T48" fmla="*/ 462 w 1606"/>
                <a:gd name="T49" fmla="*/ 401 h 1151"/>
                <a:gd name="T50" fmla="*/ 184 w 1606"/>
                <a:gd name="T51" fmla="*/ 352 h 1151"/>
                <a:gd name="T52" fmla="*/ 170 w 1606"/>
                <a:gd name="T53" fmla="*/ 349 h 1151"/>
                <a:gd name="T54" fmla="*/ 158 w 1606"/>
                <a:gd name="T55" fmla="*/ 333 h 1151"/>
                <a:gd name="T56" fmla="*/ 166 w 1606"/>
                <a:gd name="T57" fmla="*/ 311 h 1151"/>
                <a:gd name="T58" fmla="*/ 291 w 1606"/>
                <a:gd name="T59" fmla="*/ 285 h 1151"/>
                <a:gd name="T60" fmla="*/ 27 w 1606"/>
                <a:gd name="T61" fmla="*/ 245 h 1151"/>
                <a:gd name="T62" fmla="*/ 13 w 1606"/>
                <a:gd name="T63" fmla="*/ 243 h 1151"/>
                <a:gd name="T64" fmla="*/ 0 w 1606"/>
                <a:gd name="T65" fmla="*/ 227 h 1151"/>
                <a:gd name="T66" fmla="*/ 8 w 1606"/>
                <a:gd name="T67" fmla="*/ 205 h 1151"/>
                <a:gd name="T68" fmla="*/ 165 w 1606"/>
                <a:gd name="T69" fmla="*/ 172 h 1151"/>
                <a:gd name="T70" fmla="*/ 136 w 1606"/>
                <a:gd name="T71" fmla="*/ 14 h 1151"/>
                <a:gd name="T72" fmla="*/ 153 w 1606"/>
                <a:gd name="T73" fmla="*/ 0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06" h="1151">
                  <a:moveTo>
                    <a:pt x="153" y="0"/>
                  </a:moveTo>
                  <a:lnTo>
                    <a:pt x="165" y="1"/>
                  </a:lnTo>
                  <a:lnTo>
                    <a:pt x="175" y="6"/>
                  </a:lnTo>
                  <a:lnTo>
                    <a:pt x="180" y="18"/>
                  </a:lnTo>
                  <a:lnTo>
                    <a:pt x="212" y="176"/>
                  </a:lnTo>
                  <a:lnTo>
                    <a:pt x="317" y="248"/>
                  </a:lnTo>
                  <a:lnTo>
                    <a:pt x="293" y="132"/>
                  </a:lnTo>
                  <a:lnTo>
                    <a:pt x="295" y="121"/>
                  </a:lnTo>
                  <a:lnTo>
                    <a:pt x="301" y="111"/>
                  </a:lnTo>
                  <a:lnTo>
                    <a:pt x="312" y="106"/>
                  </a:lnTo>
                  <a:lnTo>
                    <a:pt x="323" y="108"/>
                  </a:lnTo>
                  <a:lnTo>
                    <a:pt x="332" y="113"/>
                  </a:lnTo>
                  <a:lnTo>
                    <a:pt x="338" y="124"/>
                  </a:lnTo>
                  <a:lnTo>
                    <a:pt x="370" y="283"/>
                  </a:lnTo>
                  <a:lnTo>
                    <a:pt x="487" y="363"/>
                  </a:lnTo>
                  <a:lnTo>
                    <a:pt x="465" y="248"/>
                  </a:lnTo>
                  <a:lnTo>
                    <a:pt x="466" y="236"/>
                  </a:lnTo>
                  <a:lnTo>
                    <a:pt x="473" y="227"/>
                  </a:lnTo>
                  <a:lnTo>
                    <a:pt x="483" y="222"/>
                  </a:lnTo>
                  <a:lnTo>
                    <a:pt x="495" y="223"/>
                  </a:lnTo>
                  <a:lnTo>
                    <a:pt x="504" y="228"/>
                  </a:lnTo>
                  <a:lnTo>
                    <a:pt x="509" y="240"/>
                  </a:lnTo>
                  <a:lnTo>
                    <a:pt x="540" y="398"/>
                  </a:lnTo>
                  <a:lnTo>
                    <a:pt x="1489" y="1038"/>
                  </a:lnTo>
                  <a:lnTo>
                    <a:pt x="1511" y="1005"/>
                  </a:lnTo>
                  <a:lnTo>
                    <a:pt x="1520" y="996"/>
                  </a:lnTo>
                  <a:lnTo>
                    <a:pt x="1531" y="994"/>
                  </a:lnTo>
                  <a:lnTo>
                    <a:pt x="1540" y="998"/>
                  </a:lnTo>
                  <a:lnTo>
                    <a:pt x="1547" y="1008"/>
                  </a:lnTo>
                  <a:lnTo>
                    <a:pt x="1603" y="1121"/>
                  </a:lnTo>
                  <a:lnTo>
                    <a:pt x="1606" y="1133"/>
                  </a:lnTo>
                  <a:lnTo>
                    <a:pt x="1603" y="1143"/>
                  </a:lnTo>
                  <a:lnTo>
                    <a:pt x="1595" y="1148"/>
                  </a:lnTo>
                  <a:lnTo>
                    <a:pt x="1582" y="1151"/>
                  </a:lnTo>
                  <a:lnTo>
                    <a:pt x="1457" y="1142"/>
                  </a:lnTo>
                  <a:lnTo>
                    <a:pt x="1445" y="1138"/>
                  </a:lnTo>
                  <a:lnTo>
                    <a:pt x="1437" y="1131"/>
                  </a:lnTo>
                  <a:lnTo>
                    <a:pt x="1436" y="1121"/>
                  </a:lnTo>
                  <a:lnTo>
                    <a:pt x="1441" y="1109"/>
                  </a:lnTo>
                  <a:lnTo>
                    <a:pt x="1464" y="1076"/>
                  </a:lnTo>
                  <a:lnTo>
                    <a:pt x="515" y="436"/>
                  </a:lnTo>
                  <a:lnTo>
                    <a:pt x="356" y="467"/>
                  </a:lnTo>
                  <a:lnTo>
                    <a:pt x="352" y="467"/>
                  </a:lnTo>
                  <a:lnTo>
                    <a:pt x="341" y="464"/>
                  </a:lnTo>
                  <a:lnTo>
                    <a:pt x="334" y="458"/>
                  </a:lnTo>
                  <a:lnTo>
                    <a:pt x="330" y="449"/>
                  </a:lnTo>
                  <a:lnTo>
                    <a:pt x="330" y="437"/>
                  </a:lnTo>
                  <a:lnTo>
                    <a:pt x="336" y="427"/>
                  </a:lnTo>
                  <a:lnTo>
                    <a:pt x="348" y="422"/>
                  </a:lnTo>
                  <a:lnTo>
                    <a:pt x="462" y="401"/>
                  </a:lnTo>
                  <a:lnTo>
                    <a:pt x="344" y="320"/>
                  </a:lnTo>
                  <a:lnTo>
                    <a:pt x="184" y="352"/>
                  </a:lnTo>
                  <a:lnTo>
                    <a:pt x="180" y="352"/>
                  </a:lnTo>
                  <a:lnTo>
                    <a:pt x="170" y="349"/>
                  </a:lnTo>
                  <a:lnTo>
                    <a:pt x="162" y="342"/>
                  </a:lnTo>
                  <a:lnTo>
                    <a:pt x="158" y="333"/>
                  </a:lnTo>
                  <a:lnTo>
                    <a:pt x="160" y="322"/>
                  </a:lnTo>
                  <a:lnTo>
                    <a:pt x="166" y="311"/>
                  </a:lnTo>
                  <a:lnTo>
                    <a:pt x="177" y="306"/>
                  </a:lnTo>
                  <a:lnTo>
                    <a:pt x="291" y="285"/>
                  </a:lnTo>
                  <a:lnTo>
                    <a:pt x="187" y="214"/>
                  </a:lnTo>
                  <a:lnTo>
                    <a:pt x="27" y="245"/>
                  </a:lnTo>
                  <a:lnTo>
                    <a:pt x="22" y="245"/>
                  </a:lnTo>
                  <a:lnTo>
                    <a:pt x="13" y="243"/>
                  </a:lnTo>
                  <a:lnTo>
                    <a:pt x="5" y="236"/>
                  </a:lnTo>
                  <a:lnTo>
                    <a:pt x="0" y="227"/>
                  </a:lnTo>
                  <a:lnTo>
                    <a:pt x="1" y="215"/>
                  </a:lnTo>
                  <a:lnTo>
                    <a:pt x="8" y="205"/>
                  </a:lnTo>
                  <a:lnTo>
                    <a:pt x="18" y="200"/>
                  </a:lnTo>
                  <a:lnTo>
                    <a:pt x="165" y="172"/>
                  </a:lnTo>
                  <a:lnTo>
                    <a:pt x="136" y="26"/>
                  </a:lnTo>
                  <a:lnTo>
                    <a:pt x="136" y="14"/>
                  </a:lnTo>
                  <a:lnTo>
                    <a:pt x="143" y="5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1" name="Textfeld 10"/>
          <p:cNvSpPr txBox="1"/>
          <p:nvPr/>
        </p:nvSpPr>
        <p:spPr>
          <a:xfrm>
            <a:off x="2326202" y="3029200"/>
            <a:ext cx="8029450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Heizsystem für Li-Ionen Batterien</a:t>
            </a:r>
            <a:endParaRPr lang="de-DE" sz="3600" b="1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8073702" y="2190996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Betriebsarten</a:t>
            </a:r>
            <a:endParaRPr lang="de-DE" sz="2000" b="1" i="0" u="none" baseline="0" dirty="0" smtClean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079046" y="1882851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Anwendungsszenarien</a:t>
            </a:r>
            <a:endParaRPr lang="de-DE" sz="2000" b="1" i="0" u="none" baseline="0" dirty="0" smtClean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239297" y="4639330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Steuerstrategie</a:t>
            </a:r>
            <a:endParaRPr lang="de-DE" sz="20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500970" y="3860015"/>
            <a:ext cx="3312095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2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Energiebudget</a:t>
            </a:r>
            <a:endParaRPr lang="de-DE" sz="32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829336" y="3837238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6"/>
                </a:solidFill>
                <a:latin typeface="Arial" panose="020B0604020202020204" pitchFamily="34" charset="0"/>
              </a:rPr>
              <a:t>Sicherheitsfunktionen</a:t>
            </a:r>
            <a:endParaRPr lang="de-DE" sz="2000" b="1" i="0" u="none" baseline="0" dirty="0" smtClean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4228485" y="5363461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rgbClr val="D9D9D9"/>
                </a:solidFill>
                <a:latin typeface="Arial" panose="020B0604020202020204" pitchFamily="34" charset="0"/>
              </a:rPr>
              <a:t>Notabschaltung</a:t>
            </a:r>
            <a:endParaRPr lang="de-DE" sz="2000" b="1" i="0" u="none" baseline="0" dirty="0" smtClean="0">
              <a:solidFill>
                <a:srgbClr val="D9D9D9"/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052126" y="2240766"/>
            <a:ext cx="3312095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Steueralgorithmus</a:t>
            </a:r>
            <a:endParaRPr lang="de-DE" sz="16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916390" y="3769019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Adaptiv</a:t>
            </a:r>
            <a:endParaRPr lang="de-DE" sz="20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2063488" y="4989865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Simulation</a:t>
            </a:r>
            <a:endParaRPr lang="de-DE" sz="20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7648033" y="1453002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Steuerelektronik</a:t>
            </a:r>
            <a:endParaRPr lang="de-DE" sz="20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702829" y="2410043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6"/>
                </a:solidFill>
                <a:latin typeface="Arial" panose="020B0604020202020204" pitchFamily="34" charset="0"/>
              </a:rPr>
              <a:t>Feldtest</a:t>
            </a:r>
            <a:endParaRPr lang="de-DE" sz="2000" b="1" i="0" u="none" baseline="0" dirty="0" smtClean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709985" y="4636214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6"/>
                </a:solidFill>
                <a:latin typeface="Arial" panose="020B0604020202020204" pitchFamily="34" charset="0"/>
              </a:rPr>
              <a:t>Embedded Software</a:t>
            </a:r>
            <a:endParaRPr lang="de-DE" sz="2000" b="1" i="0" u="none" baseline="0" dirty="0" smtClean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1971658" y="4353244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err="1" smtClean="0">
                <a:solidFill>
                  <a:schemeClr val="accent6"/>
                </a:solidFill>
                <a:latin typeface="Arial" panose="020B0604020202020204" pitchFamily="34" charset="0"/>
              </a:rPr>
              <a:t>Scheduling</a:t>
            </a:r>
            <a:endParaRPr lang="de-DE" sz="2000" b="1" i="0" u="none" baseline="0" dirty="0" smtClean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2603327" y="1700357"/>
            <a:ext cx="3312095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400" b="1" dirty="0" smtClean="0">
                <a:solidFill>
                  <a:schemeClr val="accent6"/>
                </a:solidFill>
                <a:latin typeface="Arial" panose="020B0604020202020204" pitchFamily="34" charset="0"/>
              </a:rPr>
              <a:t>Prototyp</a:t>
            </a:r>
            <a:endParaRPr lang="de-DE" sz="2400" b="1" i="0" u="none" baseline="0" dirty="0" smtClean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3422999" y="2462366"/>
            <a:ext cx="3312095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2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Temperatur</a:t>
            </a:r>
            <a:endParaRPr lang="de-DE" sz="32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4</a:t>
            </a:fld>
            <a:endParaRPr lang="de-DE"/>
          </a:p>
        </p:txBody>
      </p:sp>
      <p:sp>
        <p:nvSpPr>
          <p:cNvPr id="36" name="Textfeld 35"/>
          <p:cNvSpPr txBox="1"/>
          <p:nvPr/>
        </p:nvSpPr>
        <p:spPr>
          <a:xfrm>
            <a:off x="4761607" y="1350390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Überwachung</a:t>
            </a:r>
            <a:endParaRPr lang="de-DE" sz="20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7770389" y="2767877"/>
            <a:ext cx="3312095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dirty="0" smtClean="0">
                <a:solidFill>
                  <a:schemeClr val="accent2"/>
                </a:solidFill>
                <a:latin typeface="Arial" panose="020B0604020202020204" pitchFamily="34" charset="0"/>
              </a:rPr>
              <a:t>Analyse</a:t>
            </a:r>
            <a:endParaRPr lang="de-DE" sz="2000" b="1" i="0" u="none" baseline="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430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and der Technik</a:t>
            </a:r>
            <a:br>
              <a:rPr lang="de-DE" dirty="0" smtClean="0"/>
            </a:br>
            <a:r>
              <a:rPr lang="de-DE" dirty="0" smtClean="0">
                <a:solidFill>
                  <a:schemeClr val="accent2"/>
                </a:solidFill>
              </a:rPr>
              <a:t>Heizlösungen am Markt: Heizfolie</a:t>
            </a:r>
            <a:endParaRPr lang="de-DE" dirty="0">
              <a:solidFill>
                <a:schemeClr val="accent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Inhaltsplatzhalter 7"/>
              <p:cNvSpPr>
                <a:spLocks noGrp="1"/>
              </p:cNvSpPr>
              <p:nvPr>
                <p:ph sz="quarter" idx="14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de-DE" sz="2000" b="1" dirty="0" smtClean="0"/>
                  <a:t>Literatur &amp; ähnliche Systeme</a:t>
                </a:r>
                <a:endParaRPr lang="de-DE" sz="2000" dirty="0"/>
              </a:p>
              <a:p>
                <a:r>
                  <a:rPr lang="de-DE" sz="2000" dirty="0" smtClean="0"/>
                  <a:t>Patent </a:t>
                </a:r>
                <a:r>
                  <a:rPr lang="de-DE" sz="2000" b="1" dirty="0" smtClean="0"/>
                  <a:t>US20050264257A1</a:t>
                </a:r>
              </a:p>
              <a:p>
                <a:pPr lvl="1"/>
                <a:r>
                  <a:rPr lang="de-DE" sz="1800" dirty="0" smtClean="0"/>
                  <a:t>Umgebungstemperaturgeführte Regelung</a:t>
                </a:r>
              </a:p>
              <a:p>
                <a:pPr lvl="1"/>
                <a:r>
                  <a:rPr lang="de-DE" sz="1800" dirty="0" smtClean="0"/>
                  <a:t>Kombination mit Zweipunktregler</a:t>
                </a:r>
              </a:p>
              <a:p>
                <a:pPr lvl="1"/>
                <a:r>
                  <a:rPr lang="de-DE" sz="1800" dirty="0" smtClean="0"/>
                  <a:t>Festes </a:t>
                </a:r>
                <a14:m>
                  <m:oMath xmlns:m="http://schemas.openxmlformats.org/officeDocument/2006/math">
                    <m:r>
                      <a:rPr lang="de-DE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𝜗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5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de-DE" sz="1800" dirty="0" smtClean="0"/>
                  <a:t> zur Umgebung</a:t>
                </a:r>
              </a:p>
              <a:p>
                <a:endParaRPr lang="de-DE" sz="2000" dirty="0" smtClean="0"/>
              </a:p>
              <a:p>
                <a:r>
                  <a:rPr lang="de-DE" sz="2000" dirty="0" smtClean="0"/>
                  <a:t>Keine weiteren relevanten Patente</a:t>
                </a:r>
              </a:p>
              <a:p>
                <a:endParaRPr lang="de-DE" sz="2000" dirty="0"/>
              </a:p>
              <a:p>
                <a:r>
                  <a:rPr lang="de-DE" sz="2000" dirty="0"/>
                  <a:t>Andere Mitbewerber </a:t>
                </a:r>
                <a:r>
                  <a:rPr lang="de-DE" sz="2000" dirty="0" smtClean="0"/>
                  <a:t>nicht bekannt</a:t>
                </a:r>
                <a:endParaRPr lang="de-DE" sz="2400" dirty="0" smtClean="0"/>
              </a:p>
              <a:p>
                <a:pPr lvl="1"/>
                <a:endParaRPr lang="de-DE" sz="1800" dirty="0"/>
              </a:p>
              <a:p>
                <a:r>
                  <a:rPr lang="de-DE" sz="2000" dirty="0" smtClean="0"/>
                  <a:t>Automobilbranche nutzt keine Heizfolien</a:t>
                </a:r>
                <a:endParaRPr lang="de-DE" sz="1800" dirty="0" smtClean="0"/>
              </a:p>
              <a:p>
                <a:pPr lvl="1"/>
                <a:endParaRPr lang="de-DE" sz="1800" dirty="0" smtClean="0"/>
              </a:p>
              <a:p>
                <a:pPr lvl="1"/>
                <a:endParaRPr lang="de-DE" dirty="0"/>
              </a:p>
            </p:txBody>
          </p:sp>
        </mc:Choice>
        <mc:Fallback xmlns="">
          <p:sp>
            <p:nvSpPr>
              <p:cNvPr id="8" name="Inhaltsplatzhalter 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blipFill>
                <a:blip r:embed="rId2"/>
                <a:stretch>
                  <a:fillRect l="-807" t="-37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Inhaltsplatzhalter 16"/>
          <p:cNvSpPr>
            <a:spLocks noGrp="1"/>
          </p:cNvSpPr>
          <p:nvPr>
            <p:ph sz="quarter" idx="13"/>
          </p:nvPr>
        </p:nvSpPr>
        <p:spPr>
          <a:xfrm>
            <a:off x="960250" y="1548359"/>
            <a:ext cx="5569450" cy="4861124"/>
          </a:xfrm>
        </p:spPr>
        <p:txBody>
          <a:bodyPr/>
          <a:lstStyle/>
          <a:p>
            <a:pPr marL="0" indent="0">
              <a:buNone/>
            </a:pPr>
            <a:r>
              <a:rPr lang="de-DE" sz="2000" b="1" dirty="0" smtClean="0"/>
              <a:t>Direkte Mitbewerber</a:t>
            </a:r>
            <a:endParaRPr lang="de-DE" sz="2000" dirty="0"/>
          </a:p>
          <a:p>
            <a:r>
              <a:rPr lang="de-DE" sz="2000" dirty="0" err="1" smtClean="0"/>
              <a:t>EnSol</a:t>
            </a:r>
            <a:r>
              <a:rPr lang="de-DE" sz="2000" dirty="0" smtClean="0"/>
              <a:t> bietet </a:t>
            </a:r>
            <a:r>
              <a:rPr lang="de-DE" sz="2000" i="1" dirty="0" err="1" smtClean="0"/>
              <a:t>EnSol</a:t>
            </a:r>
            <a:r>
              <a:rPr lang="de-DE" sz="2000" i="1" dirty="0" smtClean="0"/>
              <a:t> Frost</a:t>
            </a:r>
            <a:r>
              <a:rPr lang="de-DE" sz="2000" dirty="0" smtClean="0"/>
              <a:t> Option:</a:t>
            </a:r>
          </a:p>
          <a:p>
            <a:pPr lvl="1"/>
            <a:r>
              <a:rPr lang="de-DE" sz="1800" dirty="0" smtClean="0"/>
              <a:t>Eine Heizmatte für </a:t>
            </a:r>
            <a:r>
              <a:rPr lang="de-DE" sz="1800" dirty="0"/>
              <a:t>g</a:t>
            </a:r>
            <a:r>
              <a:rPr lang="de-DE" sz="1800" dirty="0" smtClean="0"/>
              <a:t>esamte Batterie</a:t>
            </a:r>
          </a:p>
          <a:p>
            <a:pPr lvl="1"/>
            <a:r>
              <a:rPr lang="de-DE" sz="1800" dirty="0"/>
              <a:t>Zweipunktregler </a:t>
            </a:r>
            <a:r>
              <a:rPr lang="de-DE" sz="1800" dirty="0" smtClean="0"/>
              <a:t>ohne Hysterese</a:t>
            </a:r>
          </a:p>
          <a:p>
            <a:pPr lvl="1"/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1" t="19608" r="5883" b="19608"/>
          <a:stretch/>
        </p:blipFill>
        <p:spPr>
          <a:xfrm>
            <a:off x="978050" y="3213770"/>
            <a:ext cx="4975521" cy="2448272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829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nd der Technik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>
                <a:solidFill>
                  <a:schemeClr val="accent2"/>
                </a:solidFill>
              </a:rPr>
              <a:t>Aufbau einer Jungheinrich Li-Ion Batteri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1" name="Inhaltsplatzhalter 10"/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1083" y="1736742"/>
            <a:ext cx="3528392" cy="3709276"/>
          </a:xfr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9289" y="2525775"/>
            <a:ext cx="1122754" cy="203179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196" y="2310689"/>
            <a:ext cx="2304256" cy="2580766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3521625" y="3766580"/>
            <a:ext cx="1047972" cy="1240324"/>
          </a:xfrm>
          <a:custGeom>
            <a:avLst/>
            <a:gdLst>
              <a:gd name="connsiteX0" fmla="*/ 0 w 1080120"/>
              <a:gd name="connsiteY0" fmla="*/ 0 h 1008112"/>
              <a:gd name="connsiteX1" fmla="*/ 1080120 w 1080120"/>
              <a:gd name="connsiteY1" fmla="*/ 0 h 1008112"/>
              <a:gd name="connsiteX2" fmla="*/ 1080120 w 1080120"/>
              <a:gd name="connsiteY2" fmla="*/ 1008112 h 1008112"/>
              <a:gd name="connsiteX3" fmla="*/ 0 w 1080120"/>
              <a:gd name="connsiteY3" fmla="*/ 1008112 h 1008112"/>
              <a:gd name="connsiteX4" fmla="*/ 0 w 1080120"/>
              <a:gd name="connsiteY4" fmla="*/ 0 h 1008112"/>
              <a:gd name="connsiteX0" fmla="*/ 0 w 1129282"/>
              <a:gd name="connsiteY0" fmla="*/ 196646 h 1204758"/>
              <a:gd name="connsiteX1" fmla="*/ 1129282 w 1129282"/>
              <a:gd name="connsiteY1" fmla="*/ 0 h 1204758"/>
              <a:gd name="connsiteX2" fmla="*/ 1080120 w 1129282"/>
              <a:gd name="connsiteY2" fmla="*/ 1204758 h 1204758"/>
              <a:gd name="connsiteX3" fmla="*/ 0 w 1129282"/>
              <a:gd name="connsiteY3" fmla="*/ 1204758 h 1204758"/>
              <a:gd name="connsiteX4" fmla="*/ 0 w 1129282"/>
              <a:gd name="connsiteY4" fmla="*/ 196646 h 1204758"/>
              <a:gd name="connsiteX0" fmla="*/ 0 w 1129282"/>
              <a:gd name="connsiteY0" fmla="*/ 196646 h 1352242"/>
              <a:gd name="connsiteX1" fmla="*/ 1129282 w 1129282"/>
              <a:gd name="connsiteY1" fmla="*/ 0 h 1352242"/>
              <a:gd name="connsiteX2" fmla="*/ 1080120 w 1129282"/>
              <a:gd name="connsiteY2" fmla="*/ 1204758 h 1352242"/>
              <a:gd name="connsiteX3" fmla="*/ 19665 w 1129282"/>
              <a:gd name="connsiteY3" fmla="*/ 1352242 h 1352242"/>
              <a:gd name="connsiteX4" fmla="*/ 0 w 1129282"/>
              <a:gd name="connsiteY4" fmla="*/ 196646 h 1352242"/>
              <a:gd name="connsiteX0" fmla="*/ 0 w 1168610"/>
              <a:gd name="connsiteY0" fmla="*/ 196646 h 1352242"/>
              <a:gd name="connsiteX1" fmla="*/ 1129282 w 1168610"/>
              <a:gd name="connsiteY1" fmla="*/ 0 h 1352242"/>
              <a:gd name="connsiteX2" fmla="*/ 1168610 w 1168610"/>
              <a:gd name="connsiteY2" fmla="*/ 1185093 h 1352242"/>
              <a:gd name="connsiteX3" fmla="*/ 19665 w 1168610"/>
              <a:gd name="connsiteY3" fmla="*/ 1352242 h 1352242"/>
              <a:gd name="connsiteX4" fmla="*/ 0 w 1168610"/>
              <a:gd name="connsiteY4" fmla="*/ 196646 h 1352242"/>
              <a:gd name="connsiteX0" fmla="*/ 0 w 1129282"/>
              <a:gd name="connsiteY0" fmla="*/ 196646 h 1352242"/>
              <a:gd name="connsiteX1" fmla="*/ 1129282 w 1129282"/>
              <a:gd name="connsiteY1" fmla="*/ 0 h 1352242"/>
              <a:gd name="connsiteX2" fmla="*/ 1080119 w 1129282"/>
              <a:gd name="connsiteY2" fmla="*/ 1185093 h 1352242"/>
              <a:gd name="connsiteX3" fmla="*/ 19665 w 1129282"/>
              <a:gd name="connsiteY3" fmla="*/ 1352242 h 1352242"/>
              <a:gd name="connsiteX4" fmla="*/ 0 w 1129282"/>
              <a:gd name="connsiteY4" fmla="*/ 196646 h 1352242"/>
              <a:gd name="connsiteX0" fmla="*/ 0 w 1089953"/>
              <a:gd name="connsiteY0" fmla="*/ 68826 h 1224422"/>
              <a:gd name="connsiteX1" fmla="*/ 1089953 w 1089953"/>
              <a:gd name="connsiteY1" fmla="*/ 0 h 1224422"/>
              <a:gd name="connsiteX2" fmla="*/ 1080119 w 1089953"/>
              <a:gd name="connsiteY2" fmla="*/ 1057273 h 1224422"/>
              <a:gd name="connsiteX3" fmla="*/ 19665 w 1089953"/>
              <a:gd name="connsiteY3" fmla="*/ 1224422 h 1224422"/>
              <a:gd name="connsiteX4" fmla="*/ 0 w 1089953"/>
              <a:gd name="connsiteY4" fmla="*/ 68826 h 1224422"/>
              <a:gd name="connsiteX0" fmla="*/ 0 w 1089953"/>
              <a:gd name="connsiteY0" fmla="*/ 176981 h 1224422"/>
              <a:gd name="connsiteX1" fmla="*/ 1089953 w 1089953"/>
              <a:gd name="connsiteY1" fmla="*/ 0 h 1224422"/>
              <a:gd name="connsiteX2" fmla="*/ 1080119 w 1089953"/>
              <a:gd name="connsiteY2" fmla="*/ 1057273 h 1224422"/>
              <a:gd name="connsiteX3" fmla="*/ 19665 w 1089953"/>
              <a:gd name="connsiteY3" fmla="*/ 1224422 h 1224422"/>
              <a:gd name="connsiteX4" fmla="*/ 0 w 1089953"/>
              <a:gd name="connsiteY4" fmla="*/ 176981 h 1224422"/>
              <a:gd name="connsiteX0" fmla="*/ 9831 w 1070288"/>
              <a:gd name="connsiteY0" fmla="*/ 127820 h 1224422"/>
              <a:gd name="connsiteX1" fmla="*/ 1070288 w 1070288"/>
              <a:gd name="connsiteY1" fmla="*/ 0 h 1224422"/>
              <a:gd name="connsiteX2" fmla="*/ 1060454 w 1070288"/>
              <a:gd name="connsiteY2" fmla="*/ 1057273 h 1224422"/>
              <a:gd name="connsiteX3" fmla="*/ 0 w 1070288"/>
              <a:gd name="connsiteY3" fmla="*/ 1224422 h 1224422"/>
              <a:gd name="connsiteX4" fmla="*/ 9831 w 1070288"/>
              <a:gd name="connsiteY4" fmla="*/ 127820 h 1224422"/>
              <a:gd name="connsiteX0" fmla="*/ 0 w 1060457"/>
              <a:gd name="connsiteY0" fmla="*/ 127820 h 1107802"/>
              <a:gd name="connsiteX1" fmla="*/ 1060457 w 1060457"/>
              <a:gd name="connsiteY1" fmla="*/ 0 h 1107802"/>
              <a:gd name="connsiteX2" fmla="*/ 1050623 w 1060457"/>
              <a:gd name="connsiteY2" fmla="*/ 1057273 h 1107802"/>
              <a:gd name="connsiteX3" fmla="*/ 162447 w 1060457"/>
              <a:gd name="connsiteY3" fmla="*/ 1107802 h 1107802"/>
              <a:gd name="connsiteX4" fmla="*/ 0 w 1060457"/>
              <a:gd name="connsiteY4" fmla="*/ 127820 h 1107802"/>
              <a:gd name="connsiteX0" fmla="*/ 0 w 1060457"/>
              <a:gd name="connsiteY0" fmla="*/ 127820 h 1171413"/>
              <a:gd name="connsiteX1" fmla="*/ 1060457 w 1060457"/>
              <a:gd name="connsiteY1" fmla="*/ 0 h 1171413"/>
              <a:gd name="connsiteX2" fmla="*/ 1050623 w 1060457"/>
              <a:gd name="connsiteY2" fmla="*/ 1057273 h 1171413"/>
              <a:gd name="connsiteX3" fmla="*/ 14023 w 1060457"/>
              <a:gd name="connsiteY3" fmla="*/ 1171413 h 1171413"/>
              <a:gd name="connsiteX4" fmla="*/ 0 w 1060457"/>
              <a:gd name="connsiteY4" fmla="*/ 127820 h 1171413"/>
              <a:gd name="connsiteX0" fmla="*/ 0 w 1060457"/>
              <a:gd name="connsiteY0" fmla="*/ 127820 h 1171413"/>
              <a:gd name="connsiteX1" fmla="*/ 1060457 w 1060457"/>
              <a:gd name="connsiteY1" fmla="*/ 0 h 1171413"/>
              <a:gd name="connsiteX2" fmla="*/ 684863 w 1060457"/>
              <a:gd name="connsiteY2" fmla="*/ 959207 h 1171413"/>
              <a:gd name="connsiteX3" fmla="*/ 14023 w 1060457"/>
              <a:gd name="connsiteY3" fmla="*/ 1171413 h 1171413"/>
              <a:gd name="connsiteX4" fmla="*/ 0 w 1060457"/>
              <a:gd name="connsiteY4" fmla="*/ 127820 h 1171413"/>
              <a:gd name="connsiteX0" fmla="*/ 0 w 1060457"/>
              <a:gd name="connsiteY0" fmla="*/ 127820 h 1171413"/>
              <a:gd name="connsiteX1" fmla="*/ 1060457 w 1060457"/>
              <a:gd name="connsiteY1" fmla="*/ 0 h 1171413"/>
              <a:gd name="connsiteX2" fmla="*/ 1050623 w 1060457"/>
              <a:gd name="connsiteY2" fmla="*/ 1025468 h 1171413"/>
              <a:gd name="connsiteX3" fmla="*/ 14023 w 1060457"/>
              <a:gd name="connsiteY3" fmla="*/ 1171413 h 1171413"/>
              <a:gd name="connsiteX4" fmla="*/ 0 w 1060457"/>
              <a:gd name="connsiteY4" fmla="*/ 127820 h 1171413"/>
              <a:gd name="connsiteX0" fmla="*/ 0 w 1050623"/>
              <a:gd name="connsiteY0" fmla="*/ 0 h 1043593"/>
              <a:gd name="connsiteX1" fmla="*/ 1004798 w 1050623"/>
              <a:gd name="connsiteY1" fmla="*/ 102768 h 1043593"/>
              <a:gd name="connsiteX2" fmla="*/ 1050623 w 1050623"/>
              <a:gd name="connsiteY2" fmla="*/ 897648 h 1043593"/>
              <a:gd name="connsiteX3" fmla="*/ 14023 w 1050623"/>
              <a:gd name="connsiteY3" fmla="*/ 1043593 h 1043593"/>
              <a:gd name="connsiteX4" fmla="*/ 0 w 1050623"/>
              <a:gd name="connsiteY4" fmla="*/ 0 h 1043593"/>
              <a:gd name="connsiteX0" fmla="*/ 0 w 1050623"/>
              <a:gd name="connsiteY0" fmla="*/ 196731 h 1240324"/>
              <a:gd name="connsiteX1" fmla="*/ 1049855 w 1050623"/>
              <a:gd name="connsiteY1" fmla="*/ 0 h 1240324"/>
              <a:gd name="connsiteX2" fmla="*/ 1050623 w 1050623"/>
              <a:gd name="connsiteY2" fmla="*/ 1094379 h 1240324"/>
              <a:gd name="connsiteX3" fmla="*/ 14023 w 1050623"/>
              <a:gd name="connsiteY3" fmla="*/ 1240324 h 1240324"/>
              <a:gd name="connsiteX4" fmla="*/ 0 w 1050623"/>
              <a:gd name="connsiteY4" fmla="*/ 196731 h 1240324"/>
              <a:gd name="connsiteX0" fmla="*/ 0 w 1047972"/>
              <a:gd name="connsiteY0" fmla="*/ 146373 h 1240324"/>
              <a:gd name="connsiteX1" fmla="*/ 1047204 w 1047972"/>
              <a:gd name="connsiteY1" fmla="*/ 0 h 1240324"/>
              <a:gd name="connsiteX2" fmla="*/ 1047972 w 1047972"/>
              <a:gd name="connsiteY2" fmla="*/ 1094379 h 1240324"/>
              <a:gd name="connsiteX3" fmla="*/ 11372 w 1047972"/>
              <a:gd name="connsiteY3" fmla="*/ 1240324 h 1240324"/>
              <a:gd name="connsiteX4" fmla="*/ 0 w 1047972"/>
              <a:gd name="connsiteY4" fmla="*/ 146373 h 1240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972" h="1240324">
                <a:moveTo>
                  <a:pt x="0" y="146373"/>
                </a:moveTo>
                <a:lnTo>
                  <a:pt x="1047204" y="0"/>
                </a:lnTo>
                <a:lnTo>
                  <a:pt x="1047972" y="1094379"/>
                </a:lnTo>
                <a:lnTo>
                  <a:pt x="11372" y="1240324"/>
                </a:lnTo>
                <a:lnTo>
                  <a:pt x="0" y="146373"/>
                </a:lnTo>
                <a:close/>
              </a:path>
            </a:pathLst>
          </a:custGeom>
          <a:solidFill>
            <a:schemeClr val="lt2">
              <a:alpha val="45000"/>
            </a:schemeClr>
          </a:solidFill>
          <a:ln w="57150" cap="flat" cmpd="sng" algn="ctr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100" b="0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 flipV="1">
            <a:off x="4577582" y="4458179"/>
            <a:ext cx="1152128" cy="382242"/>
          </a:xfrm>
          <a:prstGeom prst="straightConnector1">
            <a:avLst/>
          </a:prstGeom>
          <a:ln w="76200" cmpd="sng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 13"/>
          <p:cNvSpPr/>
          <p:nvPr/>
        </p:nvSpPr>
        <p:spPr>
          <a:xfrm>
            <a:off x="7161350" y="2912025"/>
            <a:ext cx="609588" cy="1590368"/>
          </a:xfrm>
          <a:custGeom>
            <a:avLst/>
            <a:gdLst>
              <a:gd name="connsiteX0" fmla="*/ 0 w 1080120"/>
              <a:gd name="connsiteY0" fmla="*/ 0 h 1008112"/>
              <a:gd name="connsiteX1" fmla="*/ 1080120 w 1080120"/>
              <a:gd name="connsiteY1" fmla="*/ 0 h 1008112"/>
              <a:gd name="connsiteX2" fmla="*/ 1080120 w 1080120"/>
              <a:gd name="connsiteY2" fmla="*/ 1008112 h 1008112"/>
              <a:gd name="connsiteX3" fmla="*/ 0 w 1080120"/>
              <a:gd name="connsiteY3" fmla="*/ 1008112 h 1008112"/>
              <a:gd name="connsiteX4" fmla="*/ 0 w 1080120"/>
              <a:gd name="connsiteY4" fmla="*/ 0 h 1008112"/>
              <a:gd name="connsiteX0" fmla="*/ 0 w 1129282"/>
              <a:gd name="connsiteY0" fmla="*/ 196646 h 1204758"/>
              <a:gd name="connsiteX1" fmla="*/ 1129282 w 1129282"/>
              <a:gd name="connsiteY1" fmla="*/ 0 h 1204758"/>
              <a:gd name="connsiteX2" fmla="*/ 1080120 w 1129282"/>
              <a:gd name="connsiteY2" fmla="*/ 1204758 h 1204758"/>
              <a:gd name="connsiteX3" fmla="*/ 0 w 1129282"/>
              <a:gd name="connsiteY3" fmla="*/ 1204758 h 1204758"/>
              <a:gd name="connsiteX4" fmla="*/ 0 w 1129282"/>
              <a:gd name="connsiteY4" fmla="*/ 196646 h 1204758"/>
              <a:gd name="connsiteX0" fmla="*/ 0 w 1129282"/>
              <a:gd name="connsiteY0" fmla="*/ 196646 h 1352242"/>
              <a:gd name="connsiteX1" fmla="*/ 1129282 w 1129282"/>
              <a:gd name="connsiteY1" fmla="*/ 0 h 1352242"/>
              <a:gd name="connsiteX2" fmla="*/ 1080120 w 1129282"/>
              <a:gd name="connsiteY2" fmla="*/ 1204758 h 1352242"/>
              <a:gd name="connsiteX3" fmla="*/ 19665 w 1129282"/>
              <a:gd name="connsiteY3" fmla="*/ 1352242 h 1352242"/>
              <a:gd name="connsiteX4" fmla="*/ 0 w 1129282"/>
              <a:gd name="connsiteY4" fmla="*/ 196646 h 1352242"/>
              <a:gd name="connsiteX0" fmla="*/ 0 w 1168610"/>
              <a:gd name="connsiteY0" fmla="*/ 196646 h 1352242"/>
              <a:gd name="connsiteX1" fmla="*/ 1129282 w 1168610"/>
              <a:gd name="connsiteY1" fmla="*/ 0 h 1352242"/>
              <a:gd name="connsiteX2" fmla="*/ 1168610 w 1168610"/>
              <a:gd name="connsiteY2" fmla="*/ 1185093 h 1352242"/>
              <a:gd name="connsiteX3" fmla="*/ 19665 w 1168610"/>
              <a:gd name="connsiteY3" fmla="*/ 1352242 h 1352242"/>
              <a:gd name="connsiteX4" fmla="*/ 0 w 1168610"/>
              <a:gd name="connsiteY4" fmla="*/ 196646 h 1352242"/>
              <a:gd name="connsiteX0" fmla="*/ 0 w 1129282"/>
              <a:gd name="connsiteY0" fmla="*/ 196646 h 1352242"/>
              <a:gd name="connsiteX1" fmla="*/ 1129282 w 1129282"/>
              <a:gd name="connsiteY1" fmla="*/ 0 h 1352242"/>
              <a:gd name="connsiteX2" fmla="*/ 1080119 w 1129282"/>
              <a:gd name="connsiteY2" fmla="*/ 1185093 h 1352242"/>
              <a:gd name="connsiteX3" fmla="*/ 19665 w 1129282"/>
              <a:gd name="connsiteY3" fmla="*/ 1352242 h 1352242"/>
              <a:gd name="connsiteX4" fmla="*/ 0 w 1129282"/>
              <a:gd name="connsiteY4" fmla="*/ 196646 h 1352242"/>
              <a:gd name="connsiteX0" fmla="*/ 0 w 1089953"/>
              <a:gd name="connsiteY0" fmla="*/ 68826 h 1224422"/>
              <a:gd name="connsiteX1" fmla="*/ 1089953 w 1089953"/>
              <a:gd name="connsiteY1" fmla="*/ 0 h 1224422"/>
              <a:gd name="connsiteX2" fmla="*/ 1080119 w 1089953"/>
              <a:gd name="connsiteY2" fmla="*/ 1057273 h 1224422"/>
              <a:gd name="connsiteX3" fmla="*/ 19665 w 1089953"/>
              <a:gd name="connsiteY3" fmla="*/ 1224422 h 1224422"/>
              <a:gd name="connsiteX4" fmla="*/ 0 w 1089953"/>
              <a:gd name="connsiteY4" fmla="*/ 68826 h 1224422"/>
              <a:gd name="connsiteX0" fmla="*/ 0 w 1089953"/>
              <a:gd name="connsiteY0" fmla="*/ 176981 h 1224422"/>
              <a:gd name="connsiteX1" fmla="*/ 1089953 w 1089953"/>
              <a:gd name="connsiteY1" fmla="*/ 0 h 1224422"/>
              <a:gd name="connsiteX2" fmla="*/ 1080119 w 1089953"/>
              <a:gd name="connsiteY2" fmla="*/ 1057273 h 1224422"/>
              <a:gd name="connsiteX3" fmla="*/ 19665 w 1089953"/>
              <a:gd name="connsiteY3" fmla="*/ 1224422 h 1224422"/>
              <a:gd name="connsiteX4" fmla="*/ 0 w 1089953"/>
              <a:gd name="connsiteY4" fmla="*/ 176981 h 1224422"/>
              <a:gd name="connsiteX0" fmla="*/ 9831 w 1070288"/>
              <a:gd name="connsiteY0" fmla="*/ 127820 h 1224422"/>
              <a:gd name="connsiteX1" fmla="*/ 1070288 w 1070288"/>
              <a:gd name="connsiteY1" fmla="*/ 0 h 1224422"/>
              <a:gd name="connsiteX2" fmla="*/ 1060454 w 1070288"/>
              <a:gd name="connsiteY2" fmla="*/ 1057273 h 1224422"/>
              <a:gd name="connsiteX3" fmla="*/ 0 w 1070288"/>
              <a:gd name="connsiteY3" fmla="*/ 1224422 h 1224422"/>
              <a:gd name="connsiteX4" fmla="*/ 9831 w 1070288"/>
              <a:gd name="connsiteY4" fmla="*/ 127820 h 1224422"/>
              <a:gd name="connsiteX0" fmla="*/ 0 w 1060457"/>
              <a:gd name="connsiteY0" fmla="*/ 127820 h 1107802"/>
              <a:gd name="connsiteX1" fmla="*/ 1060457 w 1060457"/>
              <a:gd name="connsiteY1" fmla="*/ 0 h 1107802"/>
              <a:gd name="connsiteX2" fmla="*/ 1050623 w 1060457"/>
              <a:gd name="connsiteY2" fmla="*/ 1057273 h 1107802"/>
              <a:gd name="connsiteX3" fmla="*/ 162447 w 1060457"/>
              <a:gd name="connsiteY3" fmla="*/ 1107802 h 1107802"/>
              <a:gd name="connsiteX4" fmla="*/ 0 w 1060457"/>
              <a:gd name="connsiteY4" fmla="*/ 127820 h 1107802"/>
              <a:gd name="connsiteX0" fmla="*/ 0 w 1060457"/>
              <a:gd name="connsiteY0" fmla="*/ 127820 h 1171413"/>
              <a:gd name="connsiteX1" fmla="*/ 1060457 w 1060457"/>
              <a:gd name="connsiteY1" fmla="*/ 0 h 1171413"/>
              <a:gd name="connsiteX2" fmla="*/ 1050623 w 1060457"/>
              <a:gd name="connsiteY2" fmla="*/ 1057273 h 1171413"/>
              <a:gd name="connsiteX3" fmla="*/ 14023 w 1060457"/>
              <a:gd name="connsiteY3" fmla="*/ 1171413 h 1171413"/>
              <a:gd name="connsiteX4" fmla="*/ 0 w 1060457"/>
              <a:gd name="connsiteY4" fmla="*/ 127820 h 1171413"/>
              <a:gd name="connsiteX0" fmla="*/ 0 w 1060457"/>
              <a:gd name="connsiteY0" fmla="*/ 127820 h 1171413"/>
              <a:gd name="connsiteX1" fmla="*/ 1060457 w 1060457"/>
              <a:gd name="connsiteY1" fmla="*/ 0 h 1171413"/>
              <a:gd name="connsiteX2" fmla="*/ 684863 w 1060457"/>
              <a:gd name="connsiteY2" fmla="*/ 959207 h 1171413"/>
              <a:gd name="connsiteX3" fmla="*/ 14023 w 1060457"/>
              <a:gd name="connsiteY3" fmla="*/ 1171413 h 1171413"/>
              <a:gd name="connsiteX4" fmla="*/ 0 w 1060457"/>
              <a:gd name="connsiteY4" fmla="*/ 127820 h 1171413"/>
              <a:gd name="connsiteX0" fmla="*/ 0 w 1060457"/>
              <a:gd name="connsiteY0" fmla="*/ 127820 h 1171413"/>
              <a:gd name="connsiteX1" fmla="*/ 1060457 w 1060457"/>
              <a:gd name="connsiteY1" fmla="*/ 0 h 1171413"/>
              <a:gd name="connsiteX2" fmla="*/ 1050623 w 1060457"/>
              <a:gd name="connsiteY2" fmla="*/ 1025468 h 1171413"/>
              <a:gd name="connsiteX3" fmla="*/ 14023 w 1060457"/>
              <a:gd name="connsiteY3" fmla="*/ 1171413 h 1171413"/>
              <a:gd name="connsiteX4" fmla="*/ 0 w 1060457"/>
              <a:gd name="connsiteY4" fmla="*/ 127820 h 1171413"/>
              <a:gd name="connsiteX0" fmla="*/ 0 w 1050623"/>
              <a:gd name="connsiteY0" fmla="*/ 0 h 1043593"/>
              <a:gd name="connsiteX1" fmla="*/ 1004798 w 1050623"/>
              <a:gd name="connsiteY1" fmla="*/ 102768 h 1043593"/>
              <a:gd name="connsiteX2" fmla="*/ 1050623 w 1050623"/>
              <a:gd name="connsiteY2" fmla="*/ 897648 h 1043593"/>
              <a:gd name="connsiteX3" fmla="*/ 14023 w 1050623"/>
              <a:gd name="connsiteY3" fmla="*/ 1043593 h 1043593"/>
              <a:gd name="connsiteX4" fmla="*/ 0 w 1050623"/>
              <a:gd name="connsiteY4" fmla="*/ 0 h 1043593"/>
              <a:gd name="connsiteX0" fmla="*/ 0 w 1050623"/>
              <a:gd name="connsiteY0" fmla="*/ 196731 h 1240324"/>
              <a:gd name="connsiteX1" fmla="*/ 1049855 w 1050623"/>
              <a:gd name="connsiteY1" fmla="*/ 0 h 1240324"/>
              <a:gd name="connsiteX2" fmla="*/ 1050623 w 1050623"/>
              <a:gd name="connsiteY2" fmla="*/ 1094379 h 1240324"/>
              <a:gd name="connsiteX3" fmla="*/ 14023 w 1050623"/>
              <a:gd name="connsiteY3" fmla="*/ 1240324 h 1240324"/>
              <a:gd name="connsiteX4" fmla="*/ 0 w 1050623"/>
              <a:gd name="connsiteY4" fmla="*/ 196731 h 1240324"/>
              <a:gd name="connsiteX0" fmla="*/ 0 w 1047972"/>
              <a:gd name="connsiteY0" fmla="*/ 146373 h 1240324"/>
              <a:gd name="connsiteX1" fmla="*/ 1047204 w 1047972"/>
              <a:gd name="connsiteY1" fmla="*/ 0 h 1240324"/>
              <a:gd name="connsiteX2" fmla="*/ 1047972 w 1047972"/>
              <a:gd name="connsiteY2" fmla="*/ 1094379 h 1240324"/>
              <a:gd name="connsiteX3" fmla="*/ 11372 w 1047972"/>
              <a:gd name="connsiteY3" fmla="*/ 1240324 h 1240324"/>
              <a:gd name="connsiteX4" fmla="*/ 0 w 1047972"/>
              <a:gd name="connsiteY4" fmla="*/ 146373 h 1240324"/>
              <a:gd name="connsiteX0" fmla="*/ 124359 w 1036600"/>
              <a:gd name="connsiteY0" fmla="*/ 365448 h 1240324"/>
              <a:gd name="connsiteX1" fmla="*/ 1035832 w 1036600"/>
              <a:gd name="connsiteY1" fmla="*/ 0 h 1240324"/>
              <a:gd name="connsiteX2" fmla="*/ 1036600 w 1036600"/>
              <a:gd name="connsiteY2" fmla="*/ 1094379 h 1240324"/>
              <a:gd name="connsiteX3" fmla="*/ 0 w 1036600"/>
              <a:gd name="connsiteY3" fmla="*/ 1240324 h 1240324"/>
              <a:gd name="connsiteX4" fmla="*/ 124359 w 1036600"/>
              <a:gd name="connsiteY4" fmla="*/ 365448 h 1240324"/>
              <a:gd name="connsiteX0" fmla="*/ 0 w 1045591"/>
              <a:gd name="connsiteY0" fmla="*/ 182092 h 1240324"/>
              <a:gd name="connsiteX1" fmla="*/ 1044823 w 1045591"/>
              <a:gd name="connsiteY1" fmla="*/ 0 h 1240324"/>
              <a:gd name="connsiteX2" fmla="*/ 1045591 w 1045591"/>
              <a:gd name="connsiteY2" fmla="*/ 1094379 h 1240324"/>
              <a:gd name="connsiteX3" fmla="*/ 8991 w 1045591"/>
              <a:gd name="connsiteY3" fmla="*/ 1240324 h 1240324"/>
              <a:gd name="connsiteX4" fmla="*/ 0 w 1045591"/>
              <a:gd name="connsiteY4" fmla="*/ 182092 h 1240324"/>
              <a:gd name="connsiteX0" fmla="*/ 2915 w 1048506"/>
              <a:gd name="connsiteY0" fmla="*/ 182092 h 1421299"/>
              <a:gd name="connsiteX1" fmla="*/ 1047738 w 1048506"/>
              <a:gd name="connsiteY1" fmla="*/ 0 h 1421299"/>
              <a:gd name="connsiteX2" fmla="*/ 1048506 w 1048506"/>
              <a:gd name="connsiteY2" fmla="*/ 1094379 h 1421299"/>
              <a:gd name="connsiteX3" fmla="*/ 0 w 1048506"/>
              <a:gd name="connsiteY3" fmla="*/ 1421299 h 1421299"/>
              <a:gd name="connsiteX4" fmla="*/ 2915 w 1048506"/>
              <a:gd name="connsiteY4" fmla="*/ 182092 h 1421299"/>
              <a:gd name="connsiteX0" fmla="*/ 2915 w 1047738"/>
              <a:gd name="connsiteY0" fmla="*/ 182092 h 1421299"/>
              <a:gd name="connsiteX1" fmla="*/ 1047738 w 1047738"/>
              <a:gd name="connsiteY1" fmla="*/ 0 h 1421299"/>
              <a:gd name="connsiteX2" fmla="*/ 603212 w 1047738"/>
              <a:gd name="connsiteY2" fmla="*/ 1070566 h 1421299"/>
              <a:gd name="connsiteX3" fmla="*/ 0 w 1047738"/>
              <a:gd name="connsiteY3" fmla="*/ 1421299 h 1421299"/>
              <a:gd name="connsiteX4" fmla="*/ 2915 w 1047738"/>
              <a:gd name="connsiteY4" fmla="*/ 182092 h 1421299"/>
              <a:gd name="connsiteX0" fmla="*/ 2915 w 609588"/>
              <a:gd name="connsiteY0" fmla="*/ 351161 h 1590368"/>
              <a:gd name="connsiteX1" fmla="*/ 609588 w 609588"/>
              <a:gd name="connsiteY1" fmla="*/ 0 h 1590368"/>
              <a:gd name="connsiteX2" fmla="*/ 603212 w 609588"/>
              <a:gd name="connsiteY2" fmla="*/ 1239635 h 1590368"/>
              <a:gd name="connsiteX3" fmla="*/ 0 w 609588"/>
              <a:gd name="connsiteY3" fmla="*/ 1590368 h 1590368"/>
              <a:gd name="connsiteX4" fmla="*/ 2915 w 609588"/>
              <a:gd name="connsiteY4" fmla="*/ 351161 h 1590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588" h="1590368">
                <a:moveTo>
                  <a:pt x="2915" y="351161"/>
                </a:moveTo>
                <a:lnTo>
                  <a:pt x="609588" y="0"/>
                </a:lnTo>
                <a:cubicBezTo>
                  <a:pt x="607463" y="413212"/>
                  <a:pt x="605337" y="826423"/>
                  <a:pt x="603212" y="1239635"/>
                </a:cubicBezTo>
                <a:lnTo>
                  <a:pt x="0" y="1590368"/>
                </a:lnTo>
                <a:cubicBezTo>
                  <a:pt x="972" y="1177299"/>
                  <a:pt x="1943" y="764230"/>
                  <a:pt x="2915" y="351161"/>
                </a:cubicBezTo>
                <a:close/>
              </a:path>
            </a:pathLst>
          </a:custGeom>
          <a:solidFill>
            <a:schemeClr val="lt2">
              <a:alpha val="45000"/>
            </a:schemeClr>
          </a:solidFill>
          <a:ln w="57150" cap="flat" cmpd="sng" algn="ctr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100" b="0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5" name="Gerade Verbindung mit Pfeil 14"/>
          <p:cNvCxnSpPr/>
          <p:nvPr/>
        </p:nvCxnSpPr>
        <p:spPr>
          <a:xfrm flipV="1">
            <a:off x="7770938" y="3738099"/>
            <a:ext cx="1152128" cy="382242"/>
          </a:xfrm>
          <a:prstGeom prst="straightConnector1">
            <a:avLst/>
          </a:prstGeom>
          <a:ln w="76200" cmpd="sng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feld 4"/>
          <p:cNvSpPr txBox="1"/>
          <p:nvPr/>
        </p:nvSpPr>
        <p:spPr>
          <a:xfrm>
            <a:off x="1971814" y="5571450"/>
            <a:ext cx="2808312" cy="73866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100" b="0" i="0" u="none" dirty="0" smtClean="0">
                <a:solidFill>
                  <a:srgbClr val="000000"/>
                </a:solidFill>
                <a:latin typeface="Arial" panose="020B0604020202020204" pitchFamily="34" charset="0"/>
              </a:rPr>
              <a:t>Li-Ionen Batterie</a:t>
            </a:r>
          </a:p>
          <a:p>
            <a:pPr algn="ctr" rtl="0"/>
            <a:r>
              <a:rPr lang="de-DE" sz="2100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de-DE" sz="21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24V</a:t>
            </a:r>
            <a:r>
              <a:rPr lang="de-DE" sz="2100" b="0" i="0" u="none" dirty="0" smtClean="0">
                <a:solidFill>
                  <a:srgbClr val="000000"/>
                </a:solidFill>
                <a:latin typeface="Arial" panose="020B0604020202020204" pitchFamily="34" charset="0"/>
              </a:rPr>
              <a:t> 360Ah</a:t>
            </a:r>
            <a:r>
              <a:rPr lang="de-DE" sz="21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de-DE" sz="2100" b="0" i="0" u="none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346168" y="5571450"/>
            <a:ext cx="2808312" cy="73866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1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Stack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100" dirty="0" smtClean="0">
                <a:solidFill>
                  <a:srgbClr val="000000"/>
                </a:solidFill>
                <a:latin typeface="Arial" panose="020B0604020202020204" pitchFamily="34" charset="0"/>
              </a:rPr>
              <a:t>(24V 120Ah)</a:t>
            </a:r>
            <a:endParaRPr lang="de-DE" sz="2100" b="0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8236510" y="5571450"/>
            <a:ext cx="2808312" cy="73866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1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LFP Zell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100" dirty="0" smtClean="0">
                <a:solidFill>
                  <a:srgbClr val="000000"/>
                </a:solidFill>
                <a:latin typeface="Arial" panose="020B0604020202020204" pitchFamily="34" charset="0"/>
              </a:rPr>
              <a:t>(3,2V 120Ah)</a:t>
            </a:r>
            <a:endParaRPr lang="de-DE" sz="2100" b="0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098745" y="3499460"/>
            <a:ext cx="496514" cy="4154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1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8x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4970168" y="4191059"/>
            <a:ext cx="496514" cy="4154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100" dirty="0">
                <a:solidFill>
                  <a:srgbClr val="000000"/>
                </a:solidFill>
                <a:latin typeface="Arial" panose="020B0604020202020204" pitchFamily="34" charset="0"/>
              </a:rPr>
              <a:t>3</a:t>
            </a:r>
            <a:r>
              <a:rPr lang="de-DE" sz="21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x</a:t>
            </a:r>
          </a:p>
        </p:txBody>
      </p:sp>
      <p:sp>
        <p:nvSpPr>
          <p:cNvPr id="7" name="Rechteck 6"/>
          <p:cNvSpPr/>
          <p:nvPr/>
        </p:nvSpPr>
        <p:spPr>
          <a:xfrm>
            <a:off x="6640965" y="3305797"/>
            <a:ext cx="451669" cy="1483832"/>
          </a:xfrm>
          <a:custGeom>
            <a:avLst/>
            <a:gdLst>
              <a:gd name="connsiteX0" fmla="*/ 0 w 504056"/>
              <a:gd name="connsiteY0" fmla="*/ 0 h 378932"/>
              <a:gd name="connsiteX1" fmla="*/ 504056 w 504056"/>
              <a:gd name="connsiteY1" fmla="*/ 0 h 378932"/>
              <a:gd name="connsiteX2" fmla="*/ 504056 w 504056"/>
              <a:gd name="connsiteY2" fmla="*/ 378932 h 378932"/>
              <a:gd name="connsiteX3" fmla="*/ 0 w 504056"/>
              <a:gd name="connsiteY3" fmla="*/ 378932 h 378932"/>
              <a:gd name="connsiteX4" fmla="*/ 0 w 504056"/>
              <a:gd name="connsiteY4" fmla="*/ 0 h 378932"/>
              <a:gd name="connsiteX0" fmla="*/ 0 w 504056"/>
              <a:gd name="connsiteY0" fmla="*/ 295275 h 674207"/>
              <a:gd name="connsiteX1" fmla="*/ 473100 w 504056"/>
              <a:gd name="connsiteY1" fmla="*/ 0 h 674207"/>
              <a:gd name="connsiteX2" fmla="*/ 504056 w 504056"/>
              <a:gd name="connsiteY2" fmla="*/ 674207 h 674207"/>
              <a:gd name="connsiteX3" fmla="*/ 0 w 504056"/>
              <a:gd name="connsiteY3" fmla="*/ 674207 h 674207"/>
              <a:gd name="connsiteX4" fmla="*/ 0 w 504056"/>
              <a:gd name="connsiteY4" fmla="*/ 295275 h 674207"/>
              <a:gd name="connsiteX0" fmla="*/ 26194 w 504056"/>
              <a:gd name="connsiteY0" fmla="*/ 259556 h 674207"/>
              <a:gd name="connsiteX1" fmla="*/ 473100 w 504056"/>
              <a:gd name="connsiteY1" fmla="*/ 0 h 674207"/>
              <a:gd name="connsiteX2" fmla="*/ 504056 w 504056"/>
              <a:gd name="connsiteY2" fmla="*/ 674207 h 674207"/>
              <a:gd name="connsiteX3" fmla="*/ 0 w 504056"/>
              <a:gd name="connsiteY3" fmla="*/ 674207 h 674207"/>
              <a:gd name="connsiteX4" fmla="*/ 26194 w 504056"/>
              <a:gd name="connsiteY4" fmla="*/ 259556 h 674207"/>
              <a:gd name="connsiteX0" fmla="*/ 26194 w 473100"/>
              <a:gd name="connsiteY0" fmla="*/ 259556 h 1286188"/>
              <a:gd name="connsiteX1" fmla="*/ 473100 w 473100"/>
              <a:gd name="connsiteY1" fmla="*/ 0 h 1286188"/>
              <a:gd name="connsiteX2" fmla="*/ 365943 w 473100"/>
              <a:gd name="connsiteY2" fmla="*/ 1286188 h 1286188"/>
              <a:gd name="connsiteX3" fmla="*/ 0 w 473100"/>
              <a:gd name="connsiteY3" fmla="*/ 674207 h 1286188"/>
              <a:gd name="connsiteX4" fmla="*/ 26194 w 473100"/>
              <a:gd name="connsiteY4" fmla="*/ 259556 h 1286188"/>
              <a:gd name="connsiteX0" fmla="*/ 4763 w 451669"/>
              <a:gd name="connsiteY0" fmla="*/ 259556 h 1483832"/>
              <a:gd name="connsiteX1" fmla="*/ 451669 w 451669"/>
              <a:gd name="connsiteY1" fmla="*/ 0 h 1483832"/>
              <a:gd name="connsiteX2" fmla="*/ 344512 w 451669"/>
              <a:gd name="connsiteY2" fmla="*/ 1286188 h 1483832"/>
              <a:gd name="connsiteX3" fmla="*/ 0 w 451669"/>
              <a:gd name="connsiteY3" fmla="*/ 1483832 h 1483832"/>
              <a:gd name="connsiteX4" fmla="*/ 4763 w 451669"/>
              <a:gd name="connsiteY4" fmla="*/ 259556 h 148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1669" h="1483832">
                <a:moveTo>
                  <a:pt x="4763" y="259556"/>
                </a:moveTo>
                <a:lnTo>
                  <a:pt x="451669" y="0"/>
                </a:lnTo>
                <a:lnTo>
                  <a:pt x="344512" y="1286188"/>
                </a:lnTo>
                <a:lnTo>
                  <a:pt x="0" y="1483832"/>
                </a:lnTo>
                <a:cubicBezTo>
                  <a:pt x="1588" y="1075740"/>
                  <a:pt x="3175" y="667648"/>
                  <a:pt x="4763" y="259556"/>
                </a:cubicBezTo>
                <a:close/>
              </a:path>
            </a:pathLst>
          </a:custGeom>
          <a:solidFill>
            <a:srgbClr val="5B9D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100" b="0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6</a:t>
            </a:fld>
            <a:endParaRPr lang="de-DE"/>
          </a:p>
        </p:txBody>
      </p:sp>
      <p:cxnSp>
        <p:nvCxnSpPr>
          <p:cNvPr id="3" name="Gerade Verbindung mit Pfeil 2"/>
          <p:cNvCxnSpPr/>
          <p:nvPr/>
        </p:nvCxnSpPr>
        <p:spPr>
          <a:xfrm>
            <a:off x="10281174" y="2643192"/>
            <a:ext cx="0" cy="1728192"/>
          </a:xfrm>
          <a:prstGeom prst="straightConnector1">
            <a:avLst/>
          </a:prstGeom>
          <a:ln w="28575" cap="flat" cmpd="sng" algn="ctr">
            <a:solidFill>
              <a:schemeClr val="accent6"/>
            </a:solidFill>
            <a:prstDash val="solid"/>
            <a:round/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feld 3"/>
          <p:cNvSpPr txBox="1"/>
          <p:nvPr/>
        </p:nvSpPr>
        <p:spPr>
          <a:xfrm rot="16200000">
            <a:off x="9849407" y="3499664"/>
            <a:ext cx="1080120" cy="2308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5"/>
                </a:solidFill>
              </a14:hiddenLine>
            </a:ext>
          </a:extLst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900" b="0" i="0" u="none" baseline="0" dirty="0" smtClean="0">
                <a:solidFill>
                  <a:schemeClr val="accent6"/>
                </a:solidFill>
                <a:latin typeface="Arial" panose="020B0604020202020204" pitchFamily="34" charset="0"/>
              </a:rPr>
              <a:t>~30cm</a:t>
            </a:r>
          </a:p>
        </p:txBody>
      </p:sp>
    </p:spTree>
    <p:extLst>
      <p:ext uri="{BB962C8B-B14F-4D97-AF65-F5344CB8AC3E}">
        <p14:creationId xmlns:p14="http://schemas.microsoft.com/office/powerpoint/2010/main" val="143803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ösungsansatz</a:t>
            </a:r>
            <a:br>
              <a:rPr lang="de-DE" dirty="0" smtClean="0"/>
            </a:br>
            <a:r>
              <a:rPr lang="de-DE" dirty="0" smtClean="0">
                <a:solidFill>
                  <a:schemeClr val="accent2"/>
                </a:solidFill>
              </a:rPr>
              <a:t>Mechanik/Heizfoli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sz="2000" dirty="0" smtClean="0"/>
              <a:t>Stack mit Zuleitung zur Heizfolie</a:t>
            </a:r>
            <a:endParaRPr lang="de-DE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sz="2000" dirty="0" smtClean="0"/>
              <a:t>Heizfolie an Unterseite von Stack</a:t>
            </a:r>
            <a:endParaRPr lang="de-DE" sz="20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61083" y="2130258"/>
            <a:ext cx="3839394" cy="4278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55911" y="2043374"/>
            <a:ext cx="4628951" cy="4451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75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ösungsansatz</a:t>
            </a:r>
            <a:br>
              <a:rPr lang="de-DE" dirty="0" smtClean="0"/>
            </a:br>
            <a:r>
              <a:rPr lang="de-DE" dirty="0" smtClean="0">
                <a:solidFill>
                  <a:schemeClr val="accent2"/>
                </a:solidFill>
              </a:rPr>
              <a:t>Elektronik</a:t>
            </a:r>
            <a:endParaRPr lang="de-DE" dirty="0">
              <a:solidFill>
                <a:schemeClr val="accent2"/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1020996" y="2697357"/>
            <a:ext cx="1080120" cy="664689"/>
            <a:chOff x="1633091" y="2209515"/>
            <a:chExt cx="1872208" cy="1152128"/>
          </a:xfrm>
        </p:grpSpPr>
        <p:sp>
          <p:nvSpPr>
            <p:cNvPr id="4" name="Abgerundetes Rechteck 3"/>
            <p:cNvSpPr/>
            <p:nvPr/>
          </p:nvSpPr>
          <p:spPr>
            <a:xfrm>
              <a:off x="1633091" y="2209515"/>
              <a:ext cx="1872208" cy="1152128"/>
            </a:xfrm>
            <a:prstGeom prst="roundRect">
              <a:avLst/>
            </a:pr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2100" b="0" i="0" u="none" baseline="0" dirty="0" smtClean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Freihandform 10"/>
            <p:cNvSpPr/>
            <p:nvPr/>
          </p:nvSpPr>
          <p:spPr>
            <a:xfrm>
              <a:off x="1799530" y="2349674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reihandform 11"/>
            <p:cNvSpPr/>
            <p:nvPr/>
          </p:nvSpPr>
          <p:spPr>
            <a:xfrm rot="10800000">
              <a:off x="1799530" y="2493690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2286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799528" y="2633849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Freihandform 13"/>
            <p:cNvSpPr/>
            <p:nvPr/>
          </p:nvSpPr>
          <p:spPr>
            <a:xfrm rot="10800000">
              <a:off x="1799528" y="2777865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reihandform 14"/>
            <p:cNvSpPr/>
            <p:nvPr/>
          </p:nvSpPr>
          <p:spPr>
            <a:xfrm>
              <a:off x="1801252" y="2913907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/>
          </p:nvSpPr>
          <p:spPr>
            <a:xfrm rot="10800000">
              <a:off x="1801252" y="3057923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1030703" y="3834849"/>
            <a:ext cx="1080120" cy="664689"/>
            <a:chOff x="1633091" y="2209515"/>
            <a:chExt cx="1872208" cy="1152128"/>
          </a:xfrm>
          <a:effectLst/>
        </p:grpSpPr>
        <p:sp>
          <p:nvSpPr>
            <p:cNvPr id="19" name="Abgerundetes Rechteck 18"/>
            <p:cNvSpPr/>
            <p:nvPr/>
          </p:nvSpPr>
          <p:spPr>
            <a:xfrm>
              <a:off x="1633091" y="2209515"/>
              <a:ext cx="1872208" cy="1152128"/>
            </a:xfrm>
            <a:prstGeom prst="roundRect">
              <a:avLst/>
            </a:pr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2100" b="0" i="0" u="none" baseline="0" dirty="0" smtClean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1799530" y="2349674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/>
          </p:nvSpPr>
          <p:spPr>
            <a:xfrm rot="10800000">
              <a:off x="1799530" y="2493690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2286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/>
          </p:nvSpPr>
          <p:spPr>
            <a:xfrm>
              <a:off x="1799528" y="2633849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reihandform 22"/>
            <p:cNvSpPr/>
            <p:nvPr/>
          </p:nvSpPr>
          <p:spPr>
            <a:xfrm rot="10800000">
              <a:off x="1799528" y="2777865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1801252" y="2913907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/>
          </p:nvSpPr>
          <p:spPr>
            <a:xfrm rot="10800000">
              <a:off x="1801252" y="3057923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27" name="Gerade Verbindung mit Pfeil 26"/>
          <p:cNvCxnSpPr/>
          <p:nvPr/>
        </p:nvCxnSpPr>
        <p:spPr>
          <a:xfrm flipH="1">
            <a:off x="2101114" y="3069020"/>
            <a:ext cx="864098" cy="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/>
          <p:nvPr/>
        </p:nvCxnSpPr>
        <p:spPr>
          <a:xfrm flipH="1">
            <a:off x="2110823" y="4187162"/>
            <a:ext cx="864098" cy="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/>
          <p:cNvSpPr/>
          <p:nvPr/>
        </p:nvSpPr>
        <p:spPr>
          <a:xfrm>
            <a:off x="2965212" y="2734197"/>
            <a:ext cx="1512168" cy="66964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400" b="1" i="0" u="none" baseline="0" dirty="0" smtClean="0">
                <a:solidFill>
                  <a:schemeClr val="tx1"/>
                </a:solidFill>
                <a:latin typeface="Arial" panose="020B0604020202020204" pitchFamily="34" charset="0"/>
              </a:rPr>
              <a:t>SCU</a:t>
            </a:r>
            <a:endParaRPr lang="de-DE" sz="2400" b="1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2965212" y="3834849"/>
            <a:ext cx="1512168" cy="669645"/>
          </a:xfrm>
          <a:prstGeom prst="rect">
            <a:avLst/>
          </a:prstGeom>
          <a:ln>
            <a:headEnd type="none" w="med" len="med"/>
            <a:tailEnd type="none" w="med" len="med"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400" b="1" i="0" u="none" baseline="0" dirty="0" smtClean="0">
                <a:solidFill>
                  <a:schemeClr val="tx1"/>
                </a:solidFill>
                <a:latin typeface="Arial" panose="020B0604020202020204" pitchFamily="34" charset="0"/>
              </a:rPr>
              <a:t>SCU</a:t>
            </a:r>
            <a:endParaRPr lang="de-DE" sz="2400" b="1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Gerade Verbindung mit Pfeil 32"/>
          <p:cNvCxnSpPr>
            <a:stCxn id="30" idx="2"/>
            <a:endCxn id="31" idx="0"/>
          </p:cNvCxnSpPr>
          <p:nvPr/>
        </p:nvCxnSpPr>
        <p:spPr>
          <a:xfrm>
            <a:off x="3721296" y="3403842"/>
            <a:ext cx="0" cy="431007"/>
          </a:xfrm>
          <a:prstGeom prst="straightConnector1">
            <a:avLst/>
          </a:prstGeom>
          <a:ln w="34925" cmpd="sng"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/>
          <p:nvPr/>
        </p:nvCxnSpPr>
        <p:spPr>
          <a:xfrm flipH="1">
            <a:off x="3485463" y="6273351"/>
            <a:ext cx="360043" cy="0"/>
          </a:xfrm>
          <a:prstGeom prst="straightConnector1">
            <a:avLst/>
          </a:prstGeom>
          <a:ln w="34925" cmpd="sng">
            <a:solidFill>
              <a:schemeClr val="bg2"/>
            </a:solidFill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H="1">
            <a:off x="2160519" y="6273351"/>
            <a:ext cx="360042" cy="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2490980" y="6106815"/>
            <a:ext cx="928902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Energie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3816703" y="6104074"/>
            <a:ext cx="1394313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Daten (CAN)</a:t>
            </a:r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8</a:t>
            </a:fld>
            <a:endParaRPr lang="de-DE"/>
          </a:p>
        </p:txBody>
      </p:sp>
      <p:sp>
        <p:nvSpPr>
          <p:cNvPr id="42" name="Rechteck 41"/>
          <p:cNvSpPr/>
          <p:nvPr/>
        </p:nvSpPr>
        <p:spPr>
          <a:xfrm>
            <a:off x="2965212" y="1618251"/>
            <a:ext cx="3358090" cy="66964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400" b="1" dirty="0">
                <a:solidFill>
                  <a:schemeClr val="tx1"/>
                </a:solidFill>
                <a:latin typeface="Arial" panose="020B0604020202020204" pitchFamily="34" charset="0"/>
              </a:rPr>
              <a:t>B</a:t>
            </a:r>
            <a:r>
              <a:rPr lang="de-DE" sz="2400" b="1" i="0" u="none" baseline="0" dirty="0" smtClean="0">
                <a:solidFill>
                  <a:schemeClr val="tx1"/>
                </a:solidFill>
                <a:latin typeface="Arial" panose="020B0604020202020204" pitchFamily="34" charset="0"/>
              </a:rPr>
              <a:t>CU</a:t>
            </a:r>
            <a:endParaRPr lang="de-DE" sz="2400" b="1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5585166" y="2734197"/>
            <a:ext cx="738136" cy="204753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400" b="1" i="0" u="none" baseline="0" dirty="0" smtClean="0">
                <a:solidFill>
                  <a:schemeClr val="tx1"/>
                </a:solidFill>
                <a:latin typeface="Arial" panose="020B0604020202020204" pitchFamily="34" charset="0"/>
              </a:rPr>
              <a:t>U</a:t>
            </a:r>
            <a:r>
              <a:rPr lang="de-DE" sz="2400" b="1" i="0" u="none" baseline="-25000" dirty="0" smtClean="0">
                <a:solidFill>
                  <a:schemeClr val="tx1"/>
                </a:solidFill>
                <a:latin typeface="Arial" panose="020B0604020202020204" pitchFamily="34" charset="0"/>
              </a:rPr>
              <a:t>Bat</a:t>
            </a:r>
            <a:endParaRPr lang="de-DE" sz="2400" b="1" i="0" u="none" baseline="-2500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65" name="Gerade Verbindung mit Pfeil 64"/>
          <p:cNvCxnSpPr/>
          <p:nvPr/>
        </p:nvCxnSpPr>
        <p:spPr>
          <a:xfrm flipH="1">
            <a:off x="4477380" y="4162743"/>
            <a:ext cx="540087" cy="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/>
          <p:cNvCxnSpPr/>
          <p:nvPr/>
        </p:nvCxnSpPr>
        <p:spPr>
          <a:xfrm>
            <a:off x="5017467" y="3055242"/>
            <a:ext cx="0" cy="266817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mit Pfeil 88"/>
          <p:cNvCxnSpPr/>
          <p:nvPr/>
        </p:nvCxnSpPr>
        <p:spPr>
          <a:xfrm flipH="1" flipV="1">
            <a:off x="5949570" y="2299707"/>
            <a:ext cx="4092" cy="431008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 flipH="1">
            <a:off x="4470955" y="3069019"/>
            <a:ext cx="1114211" cy="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Inhaltsplatzhalter 4"/>
          <p:cNvSpPr>
            <a:spLocks noGrp="1"/>
          </p:cNvSpPr>
          <p:nvPr>
            <p:ph sz="quarter" idx="13"/>
          </p:nvPr>
        </p:nvSpPr>
        <p:spPr>
          <a:xfrm>
            <a:off x="6670710" y="1548359"/>
            <a:ext cx="5139132" cy="4861124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>
                <a:latin typeface="Arial" panose="020B0604020202020204" pitchFamily="34" charset="0"/>
              </a:rPr>
              <a:t>U</a:t>
            </a:r>
            <a:r>
              <a:rPr lang="de-DE" sz="1800" b="1" baseline="-25000" dirty="0">
                <a:latin typeface="Arial" panose="020B0604020202020204" pitchFamily="34" charset="0"/>
              </a:rPr>
              <a:t>B</a:t>
            </a:r>
            <a:r>
              <a:rPr lang="de-DE" sz="1800" b="1" baseline="-25000" dirty="0" smtClean="0">
                <a:latin typeface="Arial" panose="020B0604020202020204" pitchFamily="34" charset="0"/>
              </a:rPr>
              <a:t>at</a:t>
            </a:r>
            <a:r>
              <a:rPr lang="de-DE" sz="1800" b="1" dirty="0" smtClean="0">
                <a:latin typeface="Arial" panose="020B0604020202020204" pitchFamily="34" charset="0"/>
              </a:rPr>
              <a:t>: Batteriespannung</a:t>
            </a:r>
            <a:endParaRPr lang="de-DE" sz="1800" b="1" baseline="-25000" dirty="0" smtClean="0">
              <a:latin typeface="Arial" panose="020B0604020202020204" pitchFamily="34" charset="0"/>
            </a:endParaRPr>
          </a:p>
          <a:p>
            <a:r>
              <a:rPr lang="de-DE" sz="1800" dirty="0" smtClean="0"/>
              <a:t>Nennspannung 24V – 96V (je nach Klasse)</a:t>
            </a:r>
            <a:endParaRPr lang="de-DE" sz="1800" dirty="0"/>
          </a:p>
          <a:p>
            <a:r>
              <a:rPr lang="de-DE" sz="1800" dirty="0" smtClean="0"/>
              <a:t>Variiert je nach Ladezustand um max. 35%</a:t>
            </a: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b="1" dirty="0" smtClean="0">
                <a:latin typeface="Arial" panose="020B0604020202020204" pitchFamily="34" charset="0"/>
              </a:rPr>
              <a:t>BCU: </a:t>
            </a:r>
            <a:r>
              <a:rPr lang="de-DE" sz="1800" b="1" dirty="0" err="1" smtClean="0">
                <a:latin typeface="Arial" panose="020B0604020202020204" pitchFamily="34" charset="0"/>
              </a:rPr>
              <a:t>Battery</a:t>
            </a:r>
            <a:r>
              <a:rPr lang="de-DE" sz="1800" b="1" dirty="0" smtClean="0">
                <a:latin typeface="Arial" panose="020B0604020202020204" pitchFamily="34" charset="0"/>
              </a:rPr>
              <a:t> </a:t>
            </a:r>
            <a:r>
              <a:rPr lang="de-DE" sz="1800" b="1" dirty="0" err="1" smtClean="0">
                <a:latin typeface="Arial" panose="020B0604020202020204" pitchFamily="34" charset="0"/>
              </a:rPr>
              <a:t>Contol</a:t>
            </a:r>
            <a:r>
              <a:rPr lang="de-DE" sz="1800" b="1" dirty="0" smtClean="0">
                <a:latin typeface="Arial" panose="020B0604020202020204" pitchFamily="34" charset="0"/>
              </a:rPr>
              <a:t> Unit</a:t>
            </a:r>
            <a:endParaRPr lang="de-DE" sz="1800" b="1" baseline="-25000" dirty="0">
              <a:latin typeface="Arial" panose="020B0604020202020204" pitchFamily="34" charset="0"/>
            </a:endParaRPr>
          </a:p>
          <a:p>
            <a:r>
              <a:rPr lang="de-DE" sz="1800" dirty="0" smtClean="0"/>
              <a:t>Misst </a:t>
            </a:r>
            <a:r>
              <a:rPr lang="de-DE" sz="1800" dirty="0" smtClean="0">
                <a:latin typeface="Arial" panose="020B0604020202020204" pitchFamily="34" charset="0"/>
              </a:rPr>
              <a:t>U</a:t>
            </a:r>
            <a:r>
              <a:rPr lang="de-DE" sz="1800" baseline="-25000" dirty="0" smtClean="0">
                <a:latin typeface="Arial" panose="020B0604020202020204" pitchFamily="34" charset="0"/>
              </a:rPr>
              <a:t>Bat</a:t>
            </a:r>
            <a:r>
              <a:rPr lang="de-DE" sz="1800" dirty="0" smtClean="0">
                <a:latin typeface="Arial" panose="020B0604020202020204" pitchFamily="34" charset="0"/>
              </a:rPr>
              <a:t> der Gesamtbatterie</a:t>
            </a:r>
          </a:p>
          <a:p>
            <a:r>
              <a:rPr lang="de-DE" sz="1800" dirty="0" smtClean="0">
                <a:latin typeface="Arial" panose="020B0604020202020204" pitchFamily="34" charset="0"/>
              </a:rPr>
              <a:t>Trifft Heizentscheidung</a:t>
            </a:r>
          </a:p>
          <a:p>
            <a:r>
              <a:rPr lang="de-DE" sz="1800" dirty="0" smtClean="0">
                <a:latin typeface="Arial" panose="020B0604020202020204" pitchFamily="34" charset="0"/>
              </a:rPr>
              <a:t>Berechnet PWM </a:t>
            </a:r>
            <a:r>
              <a:rPr lang="de-DE" sz="1800" dirty="0" err="1" smtClean="0">
                <a:latin typeface="Arial" panose="020B0604020202020204" pitchFamily="34" charset="0"/>
              </a:rPr>
              <a:t>Tastrate</a:t>
            </a:r>
            <a:r>
              <a:rPr lang="de-DE" sz="1800" dirty="0" smtClean="0">
                <a:latin typeface="Arial" panose="020B0604020202020204" pitchFamily="34" charset="0"/>
              </a:rPr>
              <a:t> für </a:t>
            </a:r>
            <a:r>
              <a:rPr lang="de-DE" sz="1800" dirty="0" err="1" smtClean="0">
                <a:latin typeface="Arial" panose="020B0604020202020204" pitchFamily="34" charset="0"/>
              </a:rPr>
              <a:t>P</a:t>
            </a:r>
            <a:r>
              <a:rPr lang="de-DE" sz="1800" baseline="-25000" dirty="0" err="1" smtClean="0">
                <a:latin typeface="Arial" panose="020B0604020202020204" pitchFamily="34" charset="0"/>
              </a:rPr>
              <a:t>Nenn</a:t>
            </a:r>
            <a:r>
              <a:rPr lang="de-DE" sz="1800" dirty="0" smtClean="0">
                <a:latin typeface="Arial" panose="020B0604020202020204" pitchFamily="34" charset="0"/>
              </a:rPr>
              <a:t> = 40W</a:t>
            </a:r>
            <a:endParaRPr lang="de-DE" sz="1800" dirty="0">
              <a:latin typeface="Arial" panose="020B0604020202020204" pitchFamily="34" charset="0"/>
            </a:endParaRPr>
          </a:p>
          <a:p>
            <a:r>
              <a:rPr lang="de-DE" sz="1800" dirty="0" smtClean="0"/>
              <a:t>Kommuniziert </a:t>
            </a:r>
            <a:r>
              <a:rPr lang="de-DE" sz="1800" dirty="0"/>
              <a:t>via </a:t>
            </a:r>
            <a:r>
              <a:rPr lang="de-DE" sz="1800" dirty="0" err="1" smtClean="0"/>
              <a:t>CANopen</a:t>
            </a:r>
            <a:endParaRPr lang="de-DE" sz="1800" dirty="0"/>
          </a:p>
          <a:p>
            <a:pPr marL="0" indent="0">
              <a:buNone/>
            </a:pPr>
            <a:endParaRPr lang="de-DE" sz="1800" dirty="0" smtClean="0"/>
          </a:p>
          <a:p>
            <a:pPr marL="0" indent="0">
              <a:buNone/>
            </a:pPr>
            <a:r>
              <a:rPr lang="de-DE" sz="1800" b="1" dirty="0">
                <a:latin typeface="Arial" panose="020B0604020202020204" pitchFamily="34" charset="0"/>
              </a:rPr>
              <a:t>SCU: Stack Control Unit</a:t>
            </a:r>
            <a:endParaRPr lang="de-DE" sz="1800" b="1" baseline="-25000" dirty="0">
              <a:latin typeface="Arial" panose="020B0604020202020204" pitchFamily="34" charset="0"/>
            </a:endParaRPr>
          </a:p>
          <a:p>
            <a:r>
              <a:rPr lang="de-DE" sz="1800" dirty="0"/>
              <a:t>Schaltet Heizfolie mit MOSFET (PWM)</a:t>
            </a:r>
          </a:p>
          <a:p>
            <a:r>
              <a:rPr lang="de-DE" sz="1800" dirty="0" smtClean="0"/>
              <a:t>Misst Zelltemperaturen für jede Zelle</a:t>
            </a:r>
            <a:endParaRPr lang="de-DE" sz="1800" dirty="0"/>
          </a:p>
          <a:p>
            <a:r>
              <a:rPr lang="de-DE" sz="1800" dirty="0" smtClean="0">
                <a:latin typeface="Arial" panose="020B0604020202020204" pitchFamily="34" charset="0"/>
              </a:rPr>
              <a:t>Überprüft </a:t>
            </a:r>
            <a:r>
              <a:rPr lang="de-DE" sz="1800" dirty="0" err="1" smtClean="0">
                <a:latin typeface="Arial" panose="020B0604020202020204" pitchFamily="34" charset="0"/>
              </a:rPr>
              <a:t>P</a:t>
            </a:r>
            <a:r>
              <a:rPr lang="de-DE" sz="1800" baseline="-25000" dirty="0" err="1" smtClean="0">
                <a:latin typeface="Arial" panose="020B0604020202020204" pitchFamily="34" charset="0"/>
              </a:rPr>
              <a:t>Ist</a:t>
            </a:r>
            <a:r>
              <a:rPr lang="de-DE" sz="1800" dirty="0" smtClean="0">
                <a:latin typeface="Arial" panose="020B0604020202020204" pitchFamily="34" charset="0"/>
              </a:rPr>
              <a:t> </a:t>
            </a:r>
          </a:p>
          <a:p>
            <a:r>
              <a:rPr lang="de-DE" sz="1800" dirty="0" smtClean="0"/>
              <a:t>Kommuniziert </a:t>
            </a:r>
            <a:r>
              <a:rPr lang="de-DE" sz="1800" dirty="0"/>
              <a:t>via </a:t>
            </a:r>
            <a:r>
              <a:rPr lang="de-DE" sz="1800" dirty="0" err="1" smtClean="0"/>
              <a:t>CANopen</a:t>
            </a:r>
            <a:endParaRPr lang="de-DE" sz="1800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99" name="Textfeld 98"/>
          <p:cNvSpPr txBox="1"/>
          <p:nvPr/>
        </p:nvSpPr>
        <p:spPr>
          <a:xfrm>
            <a:off x="966030" y="3330793"/>
            <a:ext cx="1207094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Heizfolie</a:t>
            </a:r>
            <a:endParaRPr lang="de-DE" sz="1600" b="0" i="0" u="none" baseline="-250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00" name="Grafik 99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106" y="2886202"/>
            <a:ext cx="364116" cy="365633"/>
          </a:xfrm>
          <a:prstGeom prst="rect">
            <a:avLst/>
          </a:prstGeom>
        </p:spPr>
      </p:pic>
      <p:pic>
        <p:nvPicPr>
          <p:cNvPr id="101" name="Grafik 100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106" y="4023694"/>
            <a:ext cx="364116" cy="365633"/>
          </a:xfrm>
          <a:prstGeom prst="rect">
            <a:avLst/>
          </a:prstGeom>
        </p:spPr>
      </p:pic>
      <p:cxnSp>
        <p:nvCxnSpPr>
          <p:cNvPr id="106" name="Gerade Verbindung mit Pfeil 105"/>
          <p:cNvCxnSpPr/>
          <p:nvPr/>
        </p:nvCxnSpPr>
        <p:spPr>
          <a:xfrm>
            <a:off x="3719485" y="2299707"/>
            <a:ext cx="0" cy="431007"/>
          </a:xfrm>
          <a:prstGeom prst="straightConnector1">
            <a:avLst/>
          </a:prstGeom>
          <a:ln w="34925" cmpd="sng"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mit Pfeil 108"/>
          <p:cNvCxnSpPr/>
          <p:nvPr/>
        </p:nvCxnSpPr>
        <p:spPr>
          <a:xfrm>
            <a:off x="3719485" y="4499538"/>
            <a:ext cx="0" cy="431007"/>
          </a:xfrm>
          <a:prstGeom prst="straightConnector1">
            <a:avLst/>
          </a:prstGeom>
          <a:ln w="34925" cmpd="sng"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4" name="Gruppieren 113"/>
          <p:cNvGrpSpPr/>
          <p:nvPr/>
        </p:nvGrpSpPr>
        <p:grpSpPr>
          <a:xfrm>
            <a:off x="1020994" y="4938897"/>
            <a:ext cx="1080120" cy="664689"/>
            <a:chOff x="1633091" y="2209515"/>
            <a:chExt cx="1872208" cy="1152128"/>
          </a:xfrm>
          <a:effectLst/>
        </p:grpSpPr>
        <p:sp>
          <p:nvSpPr>
            <p:cNvPr id="115" name="Abgerundetes Rechteck 114"/>
            <p:cNvSpPr/>
            <p:nvPr/>
          </p:nvSpPr>
          <p:spPr>
            <a:xfrm>
              <a:off x="1633091" y="2209515"/>
              <a:ext cx="1872208" cy="1152128"/>
            </a:xfrm>
            <a:prstGeom prst="roundRect">
              <a:avLst/>
            </a:prstGeom>
            <a:ln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2100" b="0" i="0" u="none" baseline="0" dirty="0" smtClean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Freihandform 115"/>
            <p:cNvSpPr/>
            <p:nvPr/>
          </p:nvSpPr>
          <p:spPr>
            <a:xfrm>
              <a:off x="1799530" y="2349674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Freihandform 116"/>
            <p:cNvSpPr/>
            <p:nvPr/>
          </p:nvSpPr>
          <p:spPr>
            <a:xfrm rot="10800000">
              <a:off x="1799530" y="2493690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2286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8" name="Freihandform 117"/>
            <p:cNvSpPr/>
            <p:nvPr/>
          </p:nvSpPr>
          <p:spPr>
            <a:xfrm>
              <a:off x="1799528" y="2633849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9" name="Freihandform 118"/>
            <p:cNvSpPr/>
            <p:nvPr/>
          </p:nvSpPr>
          <p:spPr>
            <a:xfrm rot="10800000">
              <a:off x="1799528" y="2777865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0" name="Freihandform 119"/>
            <p:cNvSpPr/>
            <p:nvPr/>
          </p:nvSpPr>
          <p:spPr>
            <a:xfrm>
              <a:off x="1801252" y="2913907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1" name="Freihandform 120"/>
            <p:cNvSpPr/>
            <p:nvPr/>
          </p:nvSpPr>
          <p:spPr>
            <a:xfrm rot="10800000">
              <a:off x="1801252" y="3057923"/>
              <a:ext cx="1539330" cy="151730"/>
            </a:xfrm>
            <a:custGeom>
              <a:avLst/>
              <a:gdLst>
                <a:gd name="connsiteX0" fmla="*/ 6536 w 1539330"/>
                <a:gd name="connsiteY0" fmla="*/ 1158875 h 1165225"/>
                <a:gd name="connsiteX1" fmla="*/ 19236 w 1539330"/>
                <a:gd name="connsiteY1" fmla="*/ 3175 h 1165225"/>
                <a:gd name="connsiteX2" fmla="*/ 168461 w 1539330"/>
                <a:gd name="connsiteY2" fmla="*/ 1158875 h 1165225"/>
                <a:gd name="connsiteX3" fmla="*/ 168461 w 1539330"/>
                <a:gd name="connsiteY3" fmla="*/ 0 h 1165225"/>
                <a:gd name="connsiteX4" fmla="*/ 295461 w 1539330"/>
                <a:gd name="connsiteY4" fmla="*/ 1155700 h 1165225"/>
                <a:gd name="connsiteX5" fmla="*/ 311336 w 1539330"/>
                <a:gd name="connsiteY5" fmla="*/ 6350 h 1165225"/>
                <a:gd name="connsiteX6" fmla="*/ 435161 w 1539330"/>
                <a:gd name="connsiteY6" fmla="*/ 1165225 h 1165225"/>
                <a:gd name="connsiteX7" fmla="*/ 470086 w 1539330"/>
                <a:gd name="connsiteY7" fmla="*/ 12700 h 1165225"/>
                <a:gd name="connsiteX8" fmla="*/ 562161 w 1539330"/>
                <a:gd name="connsiteY8" fmla="*/ 1158875 h 1165225"/>
                <a:gd name="connsiteX9" fmla="*/ 578036 w 1539330"/>
                <a:gd name="connsiteY9" fmla="*/ 6350 h 1165225"/>
                <a:gd name="connsiteX10" fmla="*/ 698686 w 1539330"/>
                <a:gd name="connsiteY10" fmla="*/ 1158875 h 1165225"/>
                <a:gd name="connsiteX11" fmla="*/ 698686 w 1539330"/>
                <a:gd name="connsiteY11" fmla="*/ 6350 h 1165225"/>
                <a:gd name="connsiteX12" fmla="*/ 812986 w 1539330"/>
                <a:gd name="connsiteY12" fmla="*/ 1155700 h 1165225"/>
                <a:gd name="connsiteX13" fmla="*/ 825686 w 1539330"/>
                <a:gd name="connsiteY13" fmla="*/ 15875 h 1165225"/>
                <a:gd name="connsiteX14" fmla="*/ 924111 w 1539330"/>
                <a:gd name="connsiteY14" fmla="*/ 1155700 h 1165225"/>
                <a:gd name="connsiteX15" fmla="*/ 946336 w 1539330"/>
                <a:gd name="connsiteY15" fmla="*/ 15875 h 1165225"/>
                <a:gd name="connsiteX16" fmla="*/ 1041586 w 1539330"/>
                <a:gd name="connsiteY16" fmla="*/ 1162050 h 1165225"/>
                <a:gd name="connsiteX17" fmla="*/ 1070161 w 1539330"/>
                <a:gd name="connsiteY17" fmla="*/ 12700 h 1165225"/>
                <a:gd name="connsiteX18" fmla="*/ 1178111 w 1539330"/>
                <a:gd name="connsiteY18" fmla="*/ 1162050 h 1165225"/>
                <a:gd name="connsiteX19" fmla="*/ 1190811 w 1539330"/>
                <a:gd name="connsiteY19" fmla="*/ 0 h 1165225"/>
                <a:gd name="connsiteX20" fmla="*/ 1317811 w 1539330"/>
                <a:gd name="connsiteY20" fmla="*/ 1155700 h 1165225"/>
                <a:gd name="connsiteX21" fmla="*/ 1317811 w 1539330"/>
                <a:gd name="connsiteY21" fmla="*/ 9525 h 1165225"/>
                <a:gd name="connsiteX22" fmla="*/ 1425761 w 1539330"/>
                <a:gd name="connsiteY22" fmla="*/ 1152525 h 1165225"/>
                <a:gd name="connsiteX23" fmla="*/ 1428936 w 1539330"/>
                <a:gd name="connsiteY23" fmla="*/ 6350 h 1165225"/>
                <a:gd name="connsiteX24" fmla="*/ 1530536 w 1539330"/>
                <a:gd name="connsiteY24" fmla="*/ 1158875 h 1165225"/>
                <a:gd name="connsiteX25" fmla="*/ 1527361 w 1539330"/>
                <a:gd name="connsiteY25" fmla="*/ 635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9330" h="1165225">
                  <a:moveTo>
                    <a:pt x="6536" y="1158875"/>
                  </a:moveTo>
                  <a:cubicBezTo>
                    <a:pt x="-608" y="581025"/>
                    <a:pt x="-7751" y="3175"/>
                    <a:pt x="19236" y="3175"/>
                  </a:cubicBezTo>
                  <a:cubicBezTo>
                    <a:pt x="46223" y="3175"/>
                    <a:pt x="143590" y="1159404"/>
                    <a:pt x="168461" y="1158875"/>
                  </a:cubicBezTo>
                  <a:cubicBezTo>
                    <a:pt x="193332" y="1158346"/>
                    <a:pt x="147294" y="529"/>
                    <a:pt x="168461" y="0"/>
                  </a:cubicBezTo>
                  <a:cubicBezTo>
                    <a:pt x="189628" y="-529"/>
                    <a:pt x="271649" y="1154642"/>
                    <a:pt x="295461" y="1155700"/>
                  </a:cubicBezTo>
                  <a:cubicBezTo>
                    <a:pt x="319273" y="1156758"/>
                    <a:pt x="288053" y="4762"/>
                    <a:pt x="311336" y="6350"/>
                  </a:cubicBezTo>
                  <a:cubicBezTo>
                    <a:pt x="334619" y="7937"/>
                    <a:pt x="408703" y="1164167"/>
                    <a:pt x="435161" y="1165225"/>
                  </a:cubicBezTo>
                  <a:cubicBezTo>
                    <a:pt x="461619" y="1166283"/>
                    <a:pt x="448919" y="13758"/>
                    <a:pt x="470086" y="12700"/>
                  </a:cubicBezTo>
                  <a:cubicBezTo>
                    <a:pt x="491253" y="11642"/>
                    <a:pt x="544170" y="1159933"/>
                    <a:pt x="562161" y="1158875"/>
                  </a:cubicBezTo>
                  <a:cubicBezTo>
                    <a:pt x="580152" y="1157817"/>
                    <a:pt x="555282" y="6350"/>
                    <a:pt x="578036" y="6350"/>
                  </a:cubicBezTo>
                  <a:cubicBezTo>
                    <a:pt x="600790" y="6350"/>
                    <a:pt x="678578" y="1158875"/>
                    <a:pt x="698686" y="1158875"/>
                  </a:cubicBezTo>
                  <a:cubicBezTo>
                    <a:pt x="718794" y="1158875"/>
                    <a:pt x="679636" y="6879"/>
                    <a:pt x="698686" y="6350"/>
                  </a:cubicBezTo>
                  <a:cubicBezTo>
                    <a:pt x="717736" y="5821"/>
                    <a:pt x="791819" y="1154113"/>
                    <a:pt x="812986" y="1155700"/>
                  </a:cubicBezTo>
                  <a:cubicBezTo>
                    <a:pt x="834153" y="1157287"/>
                    <a:pt x="807165" y="15875"/>
                    <a:pt x="825686" y="15875"/>
                  </a:cubicBezTo>
                  <a:cubicBezTo>
                    <a:pt x="844207" y="15875"/>
                    <a:pt x="904003" y="1155700"/>
                    <a:pt x="924111" y="1155700"/>
                  </a:cubicBezTo>
                  <a:cubicBezTo>
                    <a:pt x="944219" y="1155700"/>
                    <a:pt x="926757" y="14817"/>
                    <a:pt x="946336" y="15875"/>
                  </a:cubicBezTo>
                  <a:cubicBezTo>
                    <a:pt x="965915" y="16933"/>
                    <a:pt x="1020949" y="1162579"/>
                    <a:pt x="1041586" y="1162050"/>
                  </a:cubicBezTo>
                  <a:cubicBezTo>
                    <a:pt x="1062223" y="1161521"/>
                    <a:pt x="1047407" y="12700"/>
                    <a:pt x="1070161" y="12700"/>
                  </a:cubicBezTo>
                  <a:cubicBezTo>
                    <a:pt x="1092915" y="12700"/>
                    <a:pt x="1158003" y="1164167"/>
                    <a:pt x="1178111" y="1162050"/>
                  </a:cubicBezTo>
                  <a:cubicBezTo>
                    <a:pt x="1198219" y="1159933"/>
                    <a:pt x="1167528" y="1058"/>
                    <a:pt x="1190811" y="0"/>
                  </a:cubicBezTo>
                  <a:cubicBezTo>
                    <a:pt x="1214094" y="-1058"/>
                    <a:pt x="1296644" y="1154113"/>
                    <a:pt x="1317811" y="1155700"/>
                  </a:cubicBezTo>
                  <a:cubicBezTo>
                    <a:pt x="1338978" y="1157287"/>
                    <a:pt x="1299819" y="10054"/>
                    <a:pt x="1317811" y="9525"/>
                  </a:cubicBezTo>
                  <a:cubicBezTo>
                    <a:pt x="1335803" y="8996"/>
                    <a:pt x="1407240" y="1153054"/>
                    <a:pt x="1425761" y="1152525"/>
                  </a:cubicBezTo>
                  <a:cubicBezTo>
                    <a:pt x="1444282" y="1151996"/>
                    <a:pt x="1411474" y="5292"/>
                    <a:pt x="1428936" y="6350"/>
                  </a:cubicBezTo>
                  <a:cubicBezTo>
                    <a:pt x="1446398" y="7408"/>
                    <a:pt x="1514132" y="1158875"/>
                    <a:pt x="1530536" y="1158875"/>
                  </a:cubicBezTo>
                  <a:cubicBezTo>
                    <a:pt x="1546940" y="1158875"/>
                    <a:pt x="1537150" y="582612"/>
                    <a:pt x="1527361" y="6350"/>
                  </a:cubicBezTo>
                </a:path>
              </a:pathLst>
            </a:custGeom>
            <a:noFill/>
            <a:ln w="19050" cap="rnd" cmpd="dbl">
              <a:solidFill>
                <a:srgbClr val="C00000"/>
              </a:solidFill>
              <a:prstDash val="solid"/>
            </a:ln>
            <a:effectLst>
              <a:glow rad="38100">
                <a:srgbClr val="C00000">
                  <a:alpha val="15000"/>
                </a:srgbClr>
              </a:glow>
              <a:softEdge rad="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2" name="Gerade Verbindung mit Pfeil 121"/>
          <p:cNvCxnSpPr/>
          <p:nvPr/>
        </p:nvCxnSpPr>
        <p:spPr>
          <a:xfrm flipH="1">
            <a:off x="2110823" y="5291210"/>
            <a:ext cx="864098" cy="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Rechteck 122"/>
          <p:cNvSpPr/>
          <p:nvPr/>
        </p:nvSpPr>
        <p:spPr>
          <a:xfrm>
            <a:off x="2965212" y="4938897"/>
            <a:ext cx="1512168" cy="669645"/>
          </a:xfrm>
          <a:prstGeom prst="rect">
            <a:avLst/>
          </a:prstGeom>
          <a:ln>
            <a:headEnd type="none" w="med" len="med"/>
            <a:tailEnd type="none" w="med" len="med"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400" b="1" i="0" u="none" baseline="0" dirty="0" smtClean="0">
                <a:solidFill>
                  <a:schemeClr val="tx1"/>
                </a:solidFill>
                <a:latin typeface="Arial" panose="020B0604020202020204" pitchFamily="34" charset="0"/>
              </a:rPr>
              <a:t>SCU</a:t>
            </a:r>
            <a:endParaRPr lang="de-DE" sz="2400" b="1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24" name="Gerade Verbindung mit Pfeil 123"/>
          <p:cNvCxnSpPr/>
          <p:nvPr/>
        </p:nvCxnSpPr>
        <p:spPr>
          <a:xfrm flipH="1">
            <a:off x="4477380" y="5266791"/>
            <a:ext cx="540087" cy="0"/>
          </a:xfrm>
          <a:prstGeom prst="straightConnector1">
            <a:avLst/>
          </a:prstGeom>
          <a:ln w="63500" cmpd="sng">
            <a:solidFill>
              <a:schemeClr val="accent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5" name="Grafik 124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106" y="5127742"/>
            <a:ext cx="364116" cy="365633"/>
          </a:xfrm>
          <a:prstGeom prst="rect">
            <a:avLst/>
          </a:prstGeom>
        </p:spPr>
      </p:pic>
      <p:sp>
        <p:nvSpPr>
          <p:cNvPr id="130" name="Rechteck 129"/>
          <p:cNvSpPr/>
          <p:nvPr/>
        </p:nvSpPr>
        <p:spPr>
          <a:xfrm>
            <a:off x="768995" y="4930545"/>
            <a:ext cx="4608512" cy="1019529"/>
          </a:xfrm>
          <a:prstGeom prst="rect">
            <a:avLst/>
          </a:prstGeom>
          <a:gradFill>
            <a:gsLst>
              <a:gs pos="44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100" b="0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3150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  <a:br>
              <a:rPr lang="de-DE" dirty="0"/>
            </a:br>
            <a:r>
              <a:rPr lang="de-DE" dirty="0" smtClean="0">
                <a:solidFill>
                  <a:schemeClr val="accent2"/>
                </a:solidFill>
              </a:rPr>
              <a:t>Algorithm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960250" y="1548359"/>
            <a:ext cx="5785409" cy="4861124"/>
          </a:xfrm>
        </p:spPr>
        <p:txBody>
          <a:bodyPr/>
          <a:lstStyle/>
          <a:p>
            <a:endParaRPr lang="de-DE" sz="2000" dirty="0" smtClean="0"/>
          </a:p>
          <a:p>
            <a:r>
              <a:rPr lang="de-DE" sz="2000" dirty="0" smtClean="0"/>
              <a:t>Charakterisierung Stack 2.0 durchgeführt</a:t>
            </a:r>
          </a:p>
          <a:p>
            <a:pPr lvl="1"/>
            <a:r>
              <a:rPr lang="de-DE" sz="1800" dirty="0" smtClean="0"/>
              <a:t>Zeitkonstante/Sprungantwort</a:t>
            </a:r>
          </a:p>
          <a:p>
            <a:pPr lvl="1"/>
            <a:r>
              <a:rPr lang="de-DE" sz="1800" dirty="0" smtClean="0"/>
              <a:t>Temperaturverteilung</a:t>
            </a:r>
          </a:p>
          <a:p>
            <a:pPr lvl="1"/>
            <a:r>
              <a:rPr lang="de-DE" sz="1800" dirty="0" smtClean="0"/>
              <a:t>Aufheizen und Abkühlen</a:t>
            </a:r>
          </a:p>
          <a:p>
            <a:pPr lvl="1"/>
            <a:r>
              <a:rPr lang="de-DE" sz="1800" dirty="0" smtClean="0"/>
              <a:t>Verschiedene Arbeitspunkte</a:t>
            </a:r>
          </a:p>
          <a:p>
            <a:pPr lvl="1"/>
            <a:endParaRPr lang="de-DE" sz="1800" dirty="0" smtClean="0"/>
          </a:p>
          <a:p>
            <a:r>
              <a:rPr lang="de-DE" sz="2000" dirty="0" smtClean="0"/>
              <a:t>Feldtest mit Aufzeichnung Umgebungstemperaturen (in 01/19)</a:t>
            </a:r>
          </a:p>
          <a:p>
            <a:endParaRPr lang="de-DE" sz="2000" dirty="0" smtClean="0"/>
          </a:p>
          <a:p>
            <a:r>
              <a:rPr lang="de-DE" sz="2000" dirty="0" smtClean="0"/>
              <a:t>Nutzen der Daten für Regelung der Heizung</a:t>
            </a:r>
          </a:p>
          <a:p>
            <a:endParaRPr lang="de-DE" sz="2000" dirty="0" smtClean="0"/>
          </a:p>
          <a:p>
            <a:endParaRPr lang="de-DE" sz="1800" dirty="0"/>
          </a:p>
          <a:p>
            <a:endParaRPr lang="de-DE" sz="1800" dirty="0" smtClean="0"/>
          </a:p>
          <a:p>
            <a:endParaRPr lang="de-DE" sz="1800" dirty="0" smtClean="0"/>
          </a:p>
          <a:p>
            <a:endParaRPr lang="de-DE" sz="1800" dirty="0"/>
          </a:p>
          <a:p>
            <a:pPr lvl="1"/>
            <a:endParaRPr lang="de-DE" sz="1600" dirty="0"/>
          </a:p>
          <a:p>
            <a:pPr lvl="1"/>
            <a:endParaRPr lang="de-DE" sz="16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E5243-5EAD-BA4C-9EC0-664B93609A98}" type="slidenum">
              <a:rPr lang="de-DE" smtClean="0"/>
              <a:t>9</a:t>
            </a:fld>
            <a:endParaRPr lang="de-DE" dirty="0"/>
          </a:p>
        </p:txBody>
      </p:sp>
      <p:graphicFrame>
        <p:nvGraphicFramePr>
          <p:cNvPr id="8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3094865"/>
              </p:ext>
            </p:extLst>
          </p:nvPr>
        </p:nvGraphicFramePr>
        <p:xfrm>
          <a:off x="6745659" y="540125"/>
          <a:ext cx="5064183" cy="5869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hteck 3"/>
          <p:cNvSpPr/>
          <p:nvPr/>
        </p:nvSpPr>
        <p:spPr>
          <a:xfrm>
            <a:off x="11210155" y="837506"/>
            <a:ext cx="985020" cy="57520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100" b="0" i="0" u="none" baseline="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8185819" y="6022082"/>
            <a:ext cx="2463626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Zeitverlauf: 5 Stunden</a:t>
            </a:r>
            <a:endParaRPr lang="de-DE" sz="1400" b="0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194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619482-01f7-4ebb-b21b-26139c43ce95"/>
  <p:tag name="MIO_EK" val="3679"/>
  <p:tag name="MIO_EKGUID" val="bf019d18-de64-4d5f-8a50-326802976c40"/>
  <p:tag name="MIO_UPDATE" val="True"/>
  <p:tag name="MIO_VERSION" val="15.07.2016 13:13:39"/>
  <p:tag name="MIO_DBID" val="963E02E4-8445-423F-BD85-0F477AB2DD21"/>
  <p:tag name="MIO_LASTDOWNLOADED" val="10.12.2018 09:17:24"/>
  <p:tag name="MIO_OBJECTNAME" val="Target with arrows"/>
  <p:tag name="MIO_LASTEDITORNAME" val="Verena Koh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158aea1-0777-4042-8165-1bf1d3b2438b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493091c-50c1-46ac-9184-2fb3c53ca4ef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ba6da8b-160f-4be3-a7d8-ce8b11469cc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b1c34f-5f84-49a7-ad70-0676d319dd8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d93aa71-0644-489b-be97-90e3ea5009c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21502ac-ea8c-4dc0-baf8-ca34a09c49bf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13a2cda-536a-43e4-943d-532376bd9ad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c271ba2-26e8-48e2-b828-12aa912f3ee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6ddeda2-3fd7-412b-afeb-81867c85a4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ark 1"/>
  <p:tag name="MIO_MST_COLOR_2" val="255,255,255,Light 1"/>
  <p:tag name="MIO_MST_COLOR_3" val="214,219,222,Dark 2"/>
  <p:tag name="MIO_MST_COLOR_4" val="204,0,0,Light 2"/>
  <p:tag name="MIO_MST_COLOR_5" val="0,74,67,Accent 1"/>
  <p:tag name="MIO_MST_COLOR_6" val="255,204,0,Accent 2"/>
  <p:tag name="MIO_MST_COLOR_7" val="91,147,141,Accent 3"/>
  <p:tag name="MIO_MST_COLOR_8" val="134,175,170,Accent 4"/>
  <p:tag name="MIO_MST_COLOR_9" val="185,189,193,Accent 5"/>
  <p:tag name="MIO_MST_COLOR_10" val="105,110,117,Accent 6"/>
  <p:tag name="MIO_MST_COLOR_11" val="204,0,0,"/>
  <p:tag name="MIO_MST_COLOR_12" val="0,74,67,"/>
  <p:tag name="MIO_PRESI_FIRST_SLIDENUMBER" val="1"/>
  <p:tag name="MIO_SKIPVERSION" val="01.01.0001 00:00:00"/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EK" val="3319"/>
  <p:tag name="MIO_EKGUID" val="7e1ceb3d-fa7e-48c0-9d9d-85669b382760"/>
  <p:tag name="MIO_UPDATE" val="True"/>
  <p:tag name="MIO_VERSION" val="24.07.2018 11:52:43"/>
  <p:tag name="MIO_DBID" val="963E02E4-8445-423F-BD85-0F477AB2DD21"/>
  <p:tag name="MIO_LASTDOWNLOADED" val="10.12.2018 08:35:13"/>
  <p:tag name="MIO_OBJECTNAME" val="NEU/16:9"/>
  <p:tag name="MIO_LASTEDITORNAME" val="Verena Kohl"/>
  <p:tag name="MIO_CDID" val="0d9f27fc-39d0-4d59-af1a-87ac5c2aeb4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10ab738-3916-460b-b793-043303e0430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707c03-b8e7-4962-a8a5-b6545393150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cbee855-1ffc-4a06-afa0-63dcb632135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14c5a0b-4fd3-4882-933a-cd5d5f07eff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f735aa-a228-4d2e-8800-e1ccb035c749"/>
  <p:tag name="MIO_EK" val="3595"/>
  <p:tag name="MIO_EKGUID" val="dfad5f3c-7f4f-486d-8dae-b60880b88bb5"/>
  <p:tag name="MIO_UPDATE" val="True"/>
  <p:tag name="MIO_VERSION" val="15.07.2016 12:19:28"/>
  <p:tag name="MIO_DBID" val="963E02E4-8445-423F-BD85-0F477AB2DD21"/>
  <p:tag name="MIO_LASTDOWNLOADED" val="11.12.2018 15:49:40"/>
  <p:tag name="MIO_OBJECTNAME" val="Takeaway"/>
  <p:tag name="MIO_LASTEDITORNAME" val="Verena Koh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f07152c-336e-4204-80c6-b5d248372891"/>
  <p:tag name="MIO_EK" val="3674"/>
  <p:tag name="MIO_EKGUID" val="bc3c6bd2-a3b4-4429-962e-d0c533f39d52"/>
  <p:tag name="MIO_UPDATE" val="True"/>
  <p:tag name="MIO_VERSION" val="15.07.2016 13:06:27"/>
  <p:tag name="MIO_DBID" val="963E02E4-8445-423F-BD85-0F477AB2DD21"/>
  <p:tag name="MIO_LASTDOWNLOADED" val="11.12.2018 16:42:17"/>
  <p:tag name="MIO_OBJECTNAME" val="Magnifier (2)"/>
  <p:tag name="MIO_LASTEDITORNAME" val="Verena Koh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d912611-1231-4cd0-ac20-43f37cf3ae1f"/>
  <p:tag name="MIO_EK" val="4790"/>
  <p:tag name="MIO_EKGUID" val="b2044637-2b92-4c38-8af7-d08f58af6bdf"/>
  <p:tag name="MIO_UPDATE" val="True"/>
  <p:tag name="MIO_VERSION" val="08.05.2017 12:57:21"/>
  <p:tag name="MIO_DBID" val="963E02E4-8445-423F-BD85-0F477AB2DD21"/>
  <p:tag name="MIO_LASTDOWNLOADED" val="11.12.2018 16:59:12"/>
  <p:tag name="MIO_OBJECTNAME" val="Freeform 8"/>
  <p:tag name="MIO_LASTEDITORNAME" val="Lydia Schus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74414d-188f-4074-84fe-3199ee52ca74"/>
  <p:tag name="MIO_EK" val="4790"/>
  <p:tag name="MIO_EKGUID" val="b2044637-2b92-4c38-8af7-d08f58af6bdf"/>
  <p:tag name="MIO_UPDATE" val="True"/>
  <p:tag name="MIO_VERSION" val="08.05.2017 12:57:21"/>
  <p:tag name="MIO_DBID" val="963E02E4-8445-423F-BD85-0F477AB2DD21"/>
  <p:tag name="MIO_LASTDOWNLOADED" val="11.12.2018 16:59:12"/>
  <p:tag name="MIO_OBJECTNAME" val="Freeform 8"/>
  <p:tag name="MIO_LASTEDITORNAME" val="Lydia Schust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e257f38-7623-45aa-a4ca-78f63142410a"/>
  <p:tag name="MIO_EK" val="4794"/>
  <p:tag name="MIO_EKGUID" val="21bb1240-36de-408e-bab8-8525b6a0e500"/>
  <p:tag name="MIO_UPDATE" val="True"/>
  <p:tag name="MIO_VERSION" val="08.05.2017 12:58:36"/>
  <p:tag name="MIO_DBID" val="963E02E4-8445-423F-BD85-0F477AB2DD21"/>
  <p:tag name="MIO_LASTDOWNLOADED" val="11.12.2018 16:58:34"/>
  <p:tag name="MIO_OBJECTNAME" val="Freeform 10"/>
  <p:tag name="MIO_LASTEDITORNAME" val="Lydia Schust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28c8b94-0a78-4cd2-8919-b3692e5d6b4b"/>
  <p:tag name="MIO_EK" val="4794"/>
  <p:tag name="MIO_EKGUID" val="21bb1240-36de-408e-bab8-8525b6a0e500"/>
  <p:tag name="MIO_UPDATE" val="True"/>
  <p:tag name="MIO_VERSION" val="08.05.2017 12:58:36"/>
  <p:tag name="MIO_DBID" val="963E02E4-8445-423F-BD85-0F477AB2DD21"/>
  <p:tag name="MIO_LASTDOWNLOADED" val="11.12.2018 16:58:34"/>
  <p:tag name="MIO_OBJECTNAME" val="Freeform 10"/>
  <p:tag name="MIO_LASTEDITORNAME" val="Lydia Schus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Öffentlich;Intern;Vertraulich;Streng vertraulich; "/>
  <p:tag name="MIO_USER_INPUT_REQUIRED" val="Klassifizierung;Bitte wählen Sie den Geheimhaltungsgrad aus: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d949e2e-5bd1-46b7-91d2-f22474df9528"/>
  <p:tag name="MIO_EK" val="4794"/>
  <p:tag name="MIO_EKGUID" val="21bb1240-36de-408e-bab8-8525b6a0e500"/>
  <p:tag name="MIO_UPDATE" val="True"/>
  <p:tag name="MIO_VERSION" val="08.05.2017 12:58:36"/>
  <p:tag name="MIO_DBID" val="963E02E4-8445-423F-BD85-0F477AB2DD21"/>
  <p:tag name="MIO_LASTDOWNLOADED" val="11.12.2018 16:58:34"/>
  <p:tag name="MIO_OBJECTNAME" val="Freeform 10"/>
  <p:tag name="MIO_LASTEDITORNAME" val="Lydia Schust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376334-53ad-40f9-88e6-e1fb5646b35e"/>
  <p:tag name="MIO_EK" val="4797"/>
  <p:tag name="MIO_EKGUID" val="0dfc6711-9e95-4725-a22c-bbcbf376824d"/>
  <p:tag name="MIO_UPDATE" val="True"/>
  <p:tag name="MIO_VERSION" val="08.05.2017 12:59:24"/>
  <p:tag name="MIO_DBID" val="963E02E4-8445-423F-BD85-0F477AB2DD21"/>
  <p:tag name="MIO_LASTDOWNLOADED" val="11.12.2018 16:57:59"/>
  <p:tag name="MIO_OBJECTNAME" val="Freeform 4"/>
  <p:tag name="MIO_LASTEDITORNAME" val="Lydia Schus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d2b44fd-6067-42d5-bf40-72162b91a6fc"/>
  <p:tag name="MIO_EK" val="4797"/>
  <p:tag name="MIO_EKGUID" val="0dfc6711-9e95-4725-a22c-bbcbf376824d"/>
  <p:tag name="MIO_UPDATE" val="True"/>
  <p:tag name="MIO_VERSION" val="08.05.2017 12:59:24"/>
  <p:tag name="MIO_DBID" val="963E02E4-8445-423F-BD85-0F477AB2DD21"/>
  <p:tag name="MIO_LASTDOWNLOADED" val="11.12.2018 16:57:59"/>
  <p:tag name="MIO_OBJECTNAME" val="Freeform 4"/>
  <p:tag name="MIO_LASTEDITORNAME" val="Lydia Schus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28eb951-ea8a-4547-8965-123399856389"/>
  <p:tag name="MIO_EK" val="4797"/>
  <p:tag name="MIO_EKGUID" val="0dfc6711-9e95-4725-a22c-bbcbf376824d"/>
  <p:tag name="MIO_UPDATE" val="True"/>
  <p:tag name="MIO_VERSION" val="08.05.2017 12:59:24"/>
  <p:tag name="MIO_DBID" val="963E02E4-8445-423F-BD85-0F477AB2DD21"/>
  <p:tag name="MIO_LASTDOWNLOADED" val="11.12.2018 16:57:59"/>
  <p:tag name="MIO_OBJECTNAME" val="Freeform 4"/>
  <p:tag name="MIO_LASTEDITORNAME" val="Lydia Schust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b9319f6-8855-41dc-a391-62074c96508f"/>
  <p:tag name="MIO_EK" val="4797"/>
  <p:tag name="MIO_EKGUID" val="0dfc6711-9e95-4725-a22c-bbcbf376824d"/>
  <p:tag name="MIO_UPDATE" val="True"/>
  <p:tag name="MIO_VERSION" val="08.05.2017 12:59:24"/>
  <p:tag name="MIO_DBID" val="963E02E4-8445-423F-BD85-0F477AB2DD21"/>
  <p:tag name="MIO_LASTDOWNLOADED" val="11.12.2018 16:57:59"/>
  <p:tag name="MIO_OBJECTNAME" val="Freeform 4"/>
  <p:tag name="MIO_LASTEDITORNAME" val="Lydia Schus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cc8cb8f-d5ad-4b51-b4d4-86edc313e59b"/>
  <p:tag name="MIO_EK" val="4805"/>
  <p:tag name="MIO_EKGUID" val="7881506c-9f4c-461e-b17f-3898b2f1be08"/>
  <p:tag name="MIO_UPDATE" val="True"/>
  <p:tag name="MIO_VERSION" val="08.05.2017 13:01:28"/>
  <p:tag name="MIO_DBID" val="963E02E4-8445-423F-BD85-0F477AB2DD21"/>
  <p:tag name="MIO_LASTDOWNLOADED" val="11.12.2018 16:57:43"/>
  <p:tag name="MIO_OBJECTNAME" val="Freeform 13"/>
  <p:tag name="MIO_LASTEDITORNAME" val="Lydia Schust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8f23236-6c05-4e9d-99bf-2c538a2b66d4"/>
  <p:tag name="MIO_EK" val="4805"/>
  <p:tag name="MIO_EKGUID" val="7881506c-9f4c-461e-b17f-3898b2f1be08"/>
  <p:tag name="MIO_UPDATE" val="True"/>
  <p:tag name="MIO_VERSION" val="08.05.2017 13:01:28"/>
  <p:tag name="MIO_DBID" val="963E02E4-8445-423F-BD85-0F477AB2DD21"/>
  <p:tag name="MIO_LASTDOWNLOADED" val="11.12.2018 16:57:43"/>
  <p:tag name="MIO_OBJECTNAME" val="Freeform 13"/>
  <p:tag name="MIO_LASTEDITORNAME" val="Lydia Schust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f336d1c-9f00-48f8-bcea-88b8f297e0b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3ea214a-16bd-423c-9e8f-caab1949159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a522e8b-804c-401e-8fc3-8ab3305639a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Strictly Confidential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f83a7ee-ce1b-464a-a195-af5419b5679b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35940d-6ba2-41d9-9c95-b3668867d13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cf63c1-c3ae-45c8-a090-197b884829ce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073ddd-3a2f-461f-ab1a-bae61e4421dc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4f0e5c-8534-4a3a-b2ef-1f08d14c3cf3"/>
  <p:tag name="MIO_EK_DESIGN" val="543"/>
  <p:tag name="MIO_VERSION_DESIGN" val="12.05.2015 12:19:14"/>
  <p:tag name="MIO_DBID_DESIGN" val="5A6B061C-4E0F-4296-8318-E7D2B78CDA89"/>
  <p:tag name="MIO_EK" val="3556"/>
  <p:tag name="MIO_EKGUID" val="cb592efe-59c9-489a-8466-294d41c0e852"/>
  <p:tag name="MIO_UPDATE" val="True"/>
  <p:tag name="MIO_VERSION" val="26.10.2016 11:24:58"/>
  <p:tag name="MIO_DBID" val="963E02E4-8445-423F-BD85-0F477AB2DD21"/>
  <p:tag name="MIO_LASTDOWNLOADED" val="10.12.2018 09:54:06"/>
  <p:tag name="MIO_OBJECTNAME" val="Project Timelines (2)"/>
  <p:tag name="MIO_LASTEDITORNAME" val="Jasmin Jes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 ;Internal;Confidential;Strictly Confidentia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 ;Internal;Confidential;Strictly Confidenti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f735aa-a228-4d2e-8800-e1ccb035c749"/>
  <p:tag name="MIO_EK" val="3595"/>
  <p:tag name="MIO_EKGUID" val="dfad5f3c-7f4f-486d-8dae-b60880b88bb5"/>
  <p:tag name="MIO_UPDATE" val="True"/>
  <p:tag name="MIO_VERSION" val="15.07.2016 12:19:28"/>
  <p:tag name="MIO_DBID" val="963E02E4-8445-423F-BD85-0F477AB2DD21"/>
  <p:tag name="MIO_LASTDOWNLOADED" val="11.12.2018 10:04:46"/>
  <p:tag name="MIO_OBJECTNAME" val="Takeaway"/>
  <p:tag name="MIO_LASTEDITORNAME" val="Verena Koh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cf63c1-c3ae-45c8-a090-197b884829ce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073ddd-3a2f-461f-ab1a-bae61e4421dc"/>
  <p:tag name="MIO_EK" val="651"/>
  <p:tag name="MIO_UPDATE" val="True"/>
  <p:tag name="MIO_VERSION" val="15.05.2014 14:05:42"/>
  <p:tag name="MIO_DBID" val="C86EA5CE-FD21-4CDC-A035-B25E8D9E83C3"/>
  <p:tag name="MIO_LASTDOWNLOADED" val="29.04.2015 17:37:22"/>
  <p:tag name="MIO_OBJECTNAME" val="Take away"/>
  <p:tag name="MIO_LASTEDITORNAME" val="empower enterprise"/>
</p:tagLst>
</file>

<file path=ppt/theme/theme1.xml><?xml version="1.0" encoding="utf-8"?>
<a:theme xmlns:a="http://schemas.openxmlformats.org/drawingml/2006/main" name="JH_Master">
  <a:themeElements>
    <a:clrScheme name="Jungheinrich">
      <a:dk1>
        <a:srgbClr val="000000"/>
      </a:dk1>
      <a:lt1>
        <a:srgbClr val="FFFFFF"/>
      </a:lt1>
      <a:dk2>
        <a:srgbClr val="D6DBDE"/>
      </a:dk2>
      <a:lt2>
        <a:srgbClr val="CC0000"/>
      </a:lt2>
      <a:accent1>
        <a:srgbClr val="004A43"/>
      </a:accent1>
      <a:accent2>
        <a:srgbClr val="FFCC00"/>
      </a:accent2>
      <a:accent3>
        <a:srgbClr val="5B938D"/>
      </a:accent3>
      <a:accent4>
        <a:srgbClr val="86AFAA"/>
      </a:accent4>
      <a:accent5>
        <a:srgbClr val="B9BDC1"/>
      </a:accent5>
      <a:accent6>
        <a:srgbClr val="696E75"/>
      </a:accent6>
      <a:hlink>
        <a:srgbClr val="CC0000"/>
      </a:hlink>
      <a:folHlink>
        <a:srgbClr val="004A43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1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 cmpd="sng">
          <a:solidFill>
            <a:srgbClr val="FFCC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1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8751C27D-80B7-46D0-A660-C221A8A20646}" vid="{F7170BCF-DAE9-4678-96A1-550572ADB32E}"/>
    </a:ext>
  </a:extLst>
</a:theme>
</file>

<file path=ppt/theme/theme2.xml><?xml version="1.0" encoding="utf-8"?>
<a:theme xmlns:a="http://schemas.openxmlformats.org/drawingml/2006/main" name="Larissa">
  <a:themeElements>
    <a:clrScheme name="Jungheinrich">
      <a:dk1>
        <a:srgbClr val="000000"/>
      </a:dk1>
      <a:lt1>
        <a:srgbClr val="FFFFFF"/>
      </a:lt1>
      <a:dk2>
        <a:srgbClr val="D6DBDE"/>
      </a:dk2>
      <a:lt2>
        <a:srgbClr val="CC0000"/>
      </a:lt2>
      <a:accent1>
        <a:srgbClr val="004A43"/>
      </a:accent1>
      <a:accent2>
        <a:srgbClr val="FFCC00"/>
      </a:accent2>
      <a:accent3>
        <a:srgbClr val="5B938D"/>
      </a:accent3>
      <a:accent4>
        <a:srgbClr val="86AFAA"/>
      </a:accent4>
      <a:accent5>
        <a:srgbClr val="B9BDC1"/>
      </a:accent5>
      <a:accent6>
        <a:srgbClr val="696E75"/>
      </a:accent6>
      <a:hlink>
        <a:srgbClr val="CC0000"/>
      </a:hlink>
      <a:folHlink>
        <a:srgbClr val="004A43"/>
      </a:folHlink>
    </a:clrScheme>
    <a:fontScheme name="Jungheinrich AG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447</Words>
  <Application>Microsoft Office PowerPoint</Application>
  <PresentationFormat>Benutzerdefiniert</PresentationFormat>
  <Paragraphs>217</Paragraphs>
  <Slides>17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ＭＳ Ｐゴシック</vt:lpstr>
      <vt:lpstr>Arial</vt:lpstr>
      <vt:lpstr>Cambria Math</vt:lpstr>
      <vt:lpstr>Lucida Grande</vt:lpstr>
      <vt:lpstr>Swis721 Mio</vt:lpstr>
      <vt:lpstr>Wingdings</vt:lpstr>
      <vt:lpstr>JH_Master</vt:lpstr>
      <vt:lpstr>Konzeption und experimentelle Analyse eines Heizsystems für Li-Ion Batterien</vt:lpstr>
      <vt:lpstr>Gliederung</vt:lpstr>
      <vt:lpstr>Motivation</vt:lpstr>
      <vt:lpstr>Aufgabenstellung</vt:lpstr>
      <vt:lpstr>Stand der Technik Heizlösungen am Markt: Heizfolie</vt:lpstr>
      <vt:lpstr>Stand der Technik Aufbau einer Jungheinrich Li-Ion Batterie</vt:lpstr>
      <vt:lpstr>Lösungsansatz Mechanik/Heizfolie</vt:lpstr>
      <vt:lpstr>Lösungsansatz Elektronik</vt:lpstr>
      <vt:lpstr>Lösungsansatz Algorithmen</vt:lpstr>
      <vt:lpstr>Lösungsansatz Algorithmen</vt:lpstr>
      <vt:lpstr>Test &amp; Nachweis Vorläufige Skizze zur Versuchsplanung </vt:lpstr>
      <vt:lpstr>Ablaufplan (grobe Skizze)</vt:lpstr>
      <vt:lpstr>PowerPoint-Präsentation</vt:lpstr>
      <vt:lpstr>Hintergrundfolien Jungheinrich 24V 360Ah Li-Ionen Batterie</vt:lpstr>
      <vt:lpstr>Hintergrundfolien Explosionsansicht Baugruppe Stack 2.0</vt:lpstr>
      <vt:lpstr>Hintergrundfolien Explosionsansicht Baugruppe Stack 2.0/OBS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7-19T08:08:38Z</dcterms:created>
  <dcterms:modified xsi:type="dcterms:W3CDTF">2018-12-19T10:58:12Z</dcterms:modified>
</cp:coreProperties>
</file>